
<file path=[Content_Types].xml><?xml version="1.0" encoding="utf-8"?>
<Types xmlns="http://schemas.openxmlformats.org/package/2006/content-types">
  <Default Extension="bin" ContentType="image/x-emf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3.bin" ContentType="application/vnd.openxmlformats-officedocument.oleObject"/>
  <Override PartName="/ppt/tags/tag6.xml" ContentType="application/vnd.openxmlformats-officedocument.presentationml.tags+xml"/>
  <Override PartName="/ppt/embeddings/oleObject4.bin" ContentType="application/vnd.openxmlformats-officedocument.oleObject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407" r:id="rId5"/>
    <p:sldMasterId id="2147488485" r:id="rId6"/>
  </p:sldMasterIdLst>
  <p:notesMasterIdLst>
    <p:notesMasterId r:id="rId11"/>
  </p:notesMasterIdLst>
  <p:handoutMasterIdLst>
    <p:handoutMasterId r:id="rId12"/>
  </p:handoutMasterIdLst>
  <p:sldIdLst>
    <p:sldId id="2147472008" r:id="rId7"/>
    <p:sldId id="225565402" r:id="rId8"/>
    <p:sldId id="225565407" r:id="rId9"/>
    <p:sldId id="2147472016" r:id="rId10"/>
  </p:sldIdLst>
  <p:sldSz cx="12192000" cy="6858000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568" userDrawn="1">
          <p15:clr>
            <a:srgbClr val="A4A3A4"/>
          </p15:clr>
        </p15:guide>
        <p15:guide id="3" orient="horz" pos="2424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pos="360" userDrawn="1">
          <p15:clr>
            <a:srgbClr val="A4A3A4"/>
          </p15:clr>
        </p15:guide>
        <p15:guide id="9" pos="7368" userDrawn="1">
          <p15:clr>
            <a:srgbClr val="A4A3A4"/>
          </p15:clr>
        </p15:guide>
        <p15:guide id="10" pos="3840" userDrawn="1">
          <p15:clr>
            <a:srgbClr val="A4A3A4"/>
          </p15:clr>
        </p15:guide>
        <p15:guide id="11" orient="horz" pos="624" userDrawn="1">
          <p15:clr>
            <a:srgbClr val="A4A3A4"/>
          </p15:clr>
        </p15:guide>
        <p15:guide id="12" pos="53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Usuario1" initials="U" lastIdx="1" clrIdx="6">
    <p:extLst>
      <p:ext uri="{19B8F6BF-5375-455C-9EA6-DF929625EA0E}">
        <p15:presenceInfo xmlns:p15="http://schemas.microsoft.com/office/powerpoint/2012/main" userId="2078acaa92326439" providerId="Windows Live"/>
      </p:ext>
    </p:extLst>
  </p:cmAuthor>
  <p:cmAuthor id="1" name="Ayomi Samaraweera" initials="AS" lastIdx="6" clrIdx="0">
    <p:extLst>
      <p:ext uri="{19B8F6BF-5375-455C-9EA6-DF929625EA0E}">
        <p15:presenceInfo xmlns:p15="http://schemas.microsoft.com/office/powerpoint/2012/main" userId="S-1-5-21-3814449816-1147414744-3287126245-592810" providerId="AD"/>
      </p:ext>
    </p:extLst>
  </p:cmAuthor>
  <p:cmAuthor id="8" name="Santiago Prats" initials="SP" lastIdx="1" clrIdx="7">
    <p:extLst>
      <p:ext uri="{19B8F6BF-5375-455C-9EA6-DF929625EA0E}">
        <p15:presenceInfo xmlns:p15="http://schemas.microsoft.com/office/powerpoint/2012/main" userId="S::santiago.pratz@bayer.com::7b6d03c4-3efc-45cd-bc3c-4de972a9d2a5" providerId="AD"/>
      </p:ext>
    </p:extLst>
  </p:cmAuthor>
  <p:cmAuthor id="2" name="Mandar Pathak" initials="MP" lastIdx="2" clrIdx="1">
    <p:extLst>
      <p:ext uri="{19B8F6BF-5375-455C-9EA6-DF929625EA0E}">
        <p15:presenceInfo xmlns:p15="http://schemas.microsoft.com/office/powerpoint/2012/main" userId="S::mandar.pathak@bayer.com::590bb201-6f9a-4c3f-bcf8-fae16683c2d2" providerId="AD"/>
      </p:ext>
    </p:extLst>
  </p:cmAuthor>
  <p:cmAuthor id="3" name="Sandra Thibeault" initials="ST" lastIdx="2" clrIdx="2">
    <p:extLst>
      <p:ext uri="{19B8F6BF-5375-455C-9EA6-DF929625EA0E}">
        <p15:presenceInfo xmlns:p15="http://schemas.microsoft.com/office/powerpoint/2012/main" userId="S-1-5-21-1482476501-484061587-682003330-93341" providerId="AD"/>
      </p:ext>
    </p:extLst>
  </p:cmAuthor>
  <p:cmAuthor id="4" name="Colleen Doyle" initials="CD" lastIdx="1" clrIdx="3">
    <p:extLst>
      <p:ext uri="{19B8F6BF-5375-455C-9EA6-DF929625EA0E}">
        <p15:presenceInfo xmlns:p15="http://schemas.microsoft.com/office/powerpoint/2012/main" userId="S-1-5-21-3814449816-1147414744-3287126245-592672" providerId="AD"/>
      </p:ext>
    </p:extLst>
  </p:cmAuthor>
  <p:cmAuthor id="5" name="GOBLE, JARED [AG/1000]" initials="GJ[" lastIdx="2" clrIdx="4">
    <p:extLst>
      <p:ext uri="{19B8F6BF-5375-455C-9EA6-DF929625EA0E}">
        <p15:presenceInfo xmlns:p15="http://schemas.microsoft.com/office/powerpoint/2012/main" userId="S-1-5-21-2066316708-82846456-1609722162-240832" providerId="AD"/>
      </p:ext>
    </p:extLst>
  </p:cmAuthor>
  <p:cmAuthor id="6" name="SIMMONS, JESSICA [AG/1000]" initials="SJ[" lastIdx="2" clrIdx="5">
    <p:extLst>
      <p:ext uri="{19B8F6BF-5375-455C-9EA6-DF929625EA0E}">
        <p15:presenceInfo xmlns:p15="http://schemas.microsoft.com/office/powerpoint/2012/main" userId="S-1-5-21-2066316708-82846456-1609722162-2163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639"/>
    <a:srgbClr val="F547B1"/>
    <a:srgbClr val="43B7E0"/>
    <a:srgbClr val="A4C636"/>
    <a:srgbClr val="DADBF0"/>
    <a:srgbClr val="3B3D56"/>
    <a:srgbClr val="FFFFFF"/>
    <a:srgbClr val="96C657"/>
    <a:srgbClr val="C3BDC3"/>
    <a:srgbClr val="896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91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960" y="8"/>
      </p:cViewPr>
      <p:guideLst>
        <p:guide orient="horz" pos="2568"/>
        <p:guide orient="horz" pos="2424"/>
        <p:guide orient="horz" pos="3929"/>
        <p:guide pos="360"/>
        <p:guide pos="7368"/>
        <p:guide pos="3840"/>
        <p:guide orient="horz" pos="624"/>
        <p:guide pos="531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382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42D8F0E-DE91-43AE-A7CA-A5469036935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468" cy="4989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E21E75-9970-4EBD-AFD0-694D0077CF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7380" y="0"/>
            <a:ext cx="2951468" cy="4989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A78B3D-122F-4122-BEFE-FC62C773FAA0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40F329-1CCD-45F9-A9F5-B88F7756EF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3533"/>
            <a:ext cx="2951468" cy="4989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4CBA71-B21F-47C6-B755-5FE323CDEEE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7380" y="9443533"/>
            <a:ext cx="2951468" cy="4989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06DF4-FA5E-40EA-BA30-A95F2BBE415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5739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51163" cy="498853"/>
          </a:xfrm>
          <a:prstGeom prst="rect">
            <a:avLst/>
          </a:prstGeom>
        </p:spPr>
        <p:txBody>
          <a:bodyPr vert="horz" lIns="109714" tIns="54857" rIns="109714" bIns="54857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8" y="2"/>
            <a:ext cx="2951163" cy="498853"/>
          </a:xfrm>
          <a:prstGeom prst="rect">
            <a:avLst/>
          </a:prstGeom>
        </p:spPr>
        <p:txBody>
          <a:bodyPr vert="horz" lIns="109714" tIns="54857" rIns="109714" bIns="54857" rtlCol="0"/>
          <a:lstStyle>
            <a:lvl1pPr algn="r">
              <a:defRPr sz="1400"/>
            </a:lvl1pPr>
          </a:lstStyle>
          <a:p>
            <a:fld id="{F2EFBB7A-48A6-4739-94CC-100EC27CD95F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9714" tIns="54857" rIns="109714" bIns="548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834"/>
            <a:ext cx="5448300" cy="3914865"/>
          </a:xfrm>
          <a:prstGeom prst="rect">
            <a:avLst/>
          </a:prstGeom>
        </p:spPr>
        <p:txBody>
          <a:bodyPr vert="horz" lIns="109714" tIns="54857" rIns="109714" bIns="548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3664"/>
            <a:ext cx="2951163" cy="498851"/>
          </a:xfrm>
          <a:prstGeom prst="rect">
            <a:avLst/>
          </a:prstGeom>
        </p:spPr>
        <p:txBody>
          <a:bodyPr vert="horz" lIns="109714" tIns="54857" rIns="109714" bIns="54857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8" y="9443664"/>
            <a:ext cx="2951163" cy="498851"/>
          </a:xfrm>
          <a:prstGeom prst="rect">
            <a:avLst/>
          </a:prstGeom>
        </p:spPr>
        <p:txBody>
          <a:bodyPr vert="horz" lIns="109714" tIns="54857" rIns="109714" bIns="54857" rtlCol="0" anchor="b"/>
          <a:lstStyle>
            <a:lvl1pPr algn="r">
              <a:defRPr sz="1400"/>
            </a:lvl1pPr>
          </a:lstStyle>
          <a:p>
            <a:fld id="{CA0B65C4-C53B-45E7-A48F-72443965170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95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0B65C4-C53B-45E7-A48F-7244396517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864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417BED-2231-4607-B879-6FF7793C17C3}" type="slidenum">
              <a:rPr kumimoji="0" lang="pt-BR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5335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Explorar la posibilidad de agregar en los reportes la Info de </a:t>
            </a:r>
            <a:r>
              <a:rPr lang="es-ES" dirty="0" err="1"/>
              <a:t>sgr</a:t>
            </a:r>
            <a:r>
              <a:rPr lang="es-ES" dirty="0"/>
              <a:t> proyectos, </a:t>
            </a:r>
            <a:r>
              <a:rPr lang="es-ES" dirty="0" err="1"/>
              <a:t>etcc</a:t>
            </a:r>
            <a:r>
              <a:rPr lang="es-ES" dirty="0"/>
              <a:t>…</a:t>
            </a:r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0B65C4-C53B-45E7-A48F-72443965170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831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10" Type="http://schemas.openxmlformats.org/officeDocument/2006/relationships/image" Target="../media/image8.w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w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w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3" y="13"/>
            <a:ext cx="169222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2" tIns="45650" rIns="91302" bIns="45650" rtlCol="0" anchor="ctr"/>
          <a:lstStyle/>
          <a:p>
            <a:pPr algn="ctr" defTabSz="1217254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9" y="1732423"/>
            <a:ext cx="3621024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1EFF543-017A-47A9-9573-B210B9C90786}" type="datetime1">
              <a:rPr lang="en-US" smtClean="0"/>
              <a:pPr/>
              <a:t>4/17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76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709652" y="4041071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119">
              <a:defRPr/>
            </a:pPr>
            <a:r>
              <a:rPr lang="en-US" sz="1100" kern="0">
                <a:solidFill>
                  <a:srgbClr val="FFFF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709654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95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083" anchor="ctr">
            <a:noAutofit/>
          </a:bodyPr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767" y="704851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93403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B5D85A-FFE1-42B4-84F1-33EC10EBE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9A56DB-B8CE-4068-8E40-A19938F6E4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A9729C-9443-410D-8D79-6CFBACC147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6F0041-B629-4E4C-95F9-575928F514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A2A5039-F93F-47F4-B935-49D0F63C64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6A36679-1D9F-44EA-A6DE-D7BE85448D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533DDA-019D-4F50-9B2E-B9887924E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4B947A-4EB1-49A7-9037-7EBF7B266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30656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44B19-F396-44D1-8F56-C7E3374C5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9C47DB-36E7-40B2-8AB2-442F352AD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E8D249-2F80-4EF2-8637-D645F6E93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0D731F-C3C2-4602-90AC-5D04D90C4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962740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AE4C44-20EF-46EC-82C0-8523368A8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742A66-1AF2-4383-A932-1CEA49A193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D0580C-4B9B-48BE-9574-1FC6AF930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4453449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1DF18-F8B2-4027-A2A3-B4DD07631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EC932B-8DBB-4768-B0FC-B5F74B6C46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77AC05-E46A-4298-8E26-AF8B374012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26BED8-DA80-49B2-83BA-6645FD90FA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34124A-5158-4834-A3CC-577402FB5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9CA542-6373-4FD9-85D9-DFC3A8496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691599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83C11D-DC85-4B64-AB4F-90A1BD20E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C8C107-A4E4-408E-9DCF-22EBBB7476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71E4B1-BE78-4488-A720-2A1080B03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50F054-3C7D-4004-99F7-A4304E47D1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057C9B-7ED0-477F-B82E-85BFD8C55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9B2CE6-0EC3-421A-8EF2-3391F183E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9169861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83F26-79F2-4678-89AA-6567AA90A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E6A3DF-E18B-4AAF-9EE5-D208A3F94A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77D5B6-F3E0-4A51-BB76-9A5D104A4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1F0FB0-C7F2-49A2-8DE8-C5416F771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343D8F-3AE9-4635-8661-172C3AE6E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607798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048CDE-04E3-49D6-882B-A9B44CB8EF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53517C-DC4F-46A7-958B-47694759A9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59EC49-D8B5-4131-AC60-9F0CE68472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CA8F12-7D43-4B70-B598-C558BD5B7D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4A8135-7E10-41A6-8D96-8D76B16F3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6866697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5491501-460D-45AD-A179-4305917411BF}" type="datetime1">
              <a:rPr lang="en-US" smtClean="0"/>
              <a:t>4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razil Soybean SGR Strategy /// Final Recommendation /// August 13,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979327" y="1740743"/>
            <a:ext cx="10801406" cy="474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797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93A0A4B6-5CCD-4FB0-A15D-5ED7FF73EC97}"/>
              </a:ext>
            </a:extLst>
          </p:cNvPr>
          <p:cNvSpPr>
            <a:spLocks noGrp="1"/>
          </p:cNvSpPr>
          <p:nvPr>
            <p:ph type="chart" sz="quarter" idx="10" hasCustomPrompt="1"/>
          </p:nvPr>
        </p:nvSpPr>
        <p:spPr>
          <a:xfrm>
            <a:off x="581026" y="1876425"/>
            <a:ext cx="11029950" cy="25717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pt-BR"/>
              <a:t>GRAFICOS</a:t>
            </a:r>
          </a:p>
        </p:txBody>
      </p:sp>
    </p:spTree>
    <p:extLst>
      <p:ext uri="{BB962C8B-B14F-4D97-AF65-F5344CB8AC3E}">
        <p14:creationId xmlns:p14="http://schemas.microsoft.com/office/powerpoint/2010/main" val="14514060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7024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9" y="1843720"/>
            <a:ext cx="4680609" cy="4641031"/>
          </a:xfrm>
        </p:spPr>
        <p:txBody>
          <a:bodyPr lIns="71867" rIns="71867"/>
          <a:lstStyle>
            <a:lvl1pPr marL="269546" indent="-269546">
              <a:spcBef>
                <a:spcPts val="18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1pPr>
            <a:lvl2pPr marL="539083" indent="-269546">
              <a:spcBef>
                <a:spcPts val="600"/>
              </a:spcBef>
              <a:spcAft>
                <a:spcPts val="0"/>
              </a:spcAft>
              <a:buFontTx/>
              <a:buBlip>
                <a:blip r:embed="rId7"/>
              </a:buBlip>
              <a:defRPr sz="2000"/>
            </a:lvl2pPr>
            <a:lvl3pPr marL="808638" indent="-269546">
              <a:spcBef>
                <a:spcPts val="600"/>
              </a:spcBef>
              <a:spcAft>
                <a:spcPts val="0"/>
              </a:spcAft>
              <a:buFontTx/>
              <a:buBlip>
                <a:blip r:embed="rId8"/>
              </a:buBlip>
              <a:defRPr sz="2000"/>
            </a:lvl3pPr>
            <a:lvl4pPr marL="1078164" indent="-269546">
              <a:spcBef>
                <a:spcPts val="600"/>
              </a:spcBef>
              <a:spcAft>
                <a:spcPts val="0"/>
              </a:spcAft>
              <a:buFontTx/>
              <a:buBlip>
                <a:blip r:embed="rId9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" y="2"/>
            <a:ext cx="974799" cy="1735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2" tIns="45650" rIns="91302" bIns="45650" rtlCol="0" anchor="ctr"/>
          <a:lstStyle/>
          <a:p>
            <a:pPr algn="ctr" defTabSz="1217254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EFCD321-4330-4846-8B09-F43A7529B47E}" type="datetime1">
              <a:rPr lang="en-US" smtClean="0"/>
              <a:pPr/>
              <a:t>4/17/20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>
              <a:solidFill>
                <a:srgbClr val="00BCFF"/>
              </a:solidFill>
            </a:endParaRP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767" y="704851"/>
            <a:ext cx="7204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8752924" y="66503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7254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7254"/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8559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 bwMode="gray">
          <a:xfrm>
            <a:off x="0" y="2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254">
              <a:spcBef>
                <a:spcPct val="0"/>
              </a:spcBef>
              <a:spcAft>
                <a:spcPct val="0"/>
              </a:spcAft>
            </a:pPr>
            <a:endParaRPr lang="en-US" sz="2800">
              <a:solidFill>
                <a:srgbClr val="FFFFF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E1A0CA0-EEC6-4B79-9F2D-14A35F119ECC}" type="datetime1">
              <a:rPr lang="en-US" smtClean="0"/>
              <a:pPr/>
              <a:t>4/17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10" y="1732751"/>
            <a:ext cx="10801405" cy="4752000"/>
          </a:xfrm>
        </p:spPr>
        <p:txBody>
          <a:bodyPr lIns="71867" rIns="71867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67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95F5F2-82EB-446F-8A2E-72EBA816F076}"/>
              </a:ext>
            </a:extLst>
          </p:cNvPr>
          <p:cNvCxnSpPr/>
          <p:nvPr userDrawn="1"/>
        </p:nvCxnSpPr>
        <p:spPr bwMode="gray">
          <a:xfrm flipH="1">
            <a:off x="0" y="0"/>
            <a:ext cx="1032933" cy="3547533"/>
          </a:xfrm>
          <a:prstGeom prst="line">
            <a:avLst/>
          </a:prstGeom>
          <a:ln>
            <a:tailEnd type="non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8537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white">
          <a:xfrm>
            <a:off x="3" y="13"/>
            <a:ext cx="169222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2" tIns="45650" rIns="91302" bIns="45650" rtlCol="0" anchor="ctr"/>
          <a:lstStyle/>
          <a:p>
            <a:pPr algn="ctr" defTabSz="1217254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EF36C1-3C03-46A4-BC33-064D1C54BD13}" type="datetime1">
              <a:rPr lang="en-US" smtClean="0"/>
              <a:pPr/>
              <a:t>4/17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76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709652" y="4041071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119">
              <a:defRPr/>
            </a:pPr>
            <a:r>
              <a:rPr lang="en-US" sz="1100" kern="0">
                <a:solidFill>
                  <a:srgbClr val="FFFF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709654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95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083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767" y="704851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13067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5FA018D-3093-4850-B6AE-27829823BF2F}" type="datetime1">
              <a:rPr lang="en-US" smtClean="0"/>
              <a:pPr/>
              <a:t>4/17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84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4CD72-13D2-42E8-ABC1-C4472EB29F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FD1AA4-0B19-4D37-A76A-5AE3FE1F99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2B1524-95F1-4D3F-859C-FBE1BDE88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555994-0074-4517-93D6-8B967D0EE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73754-022C-459E-BC83-17C196502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739335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D00C4-D3EC-4FFA-BC3A-D3B80A89F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447692-3878-42CF-AF5E-BC9C698766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C1EE9F-D3B0-4C41-BCFF-F70306145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83CEEE-8A75-424B-B159-74AD45B1D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A6E0BE-A1D4-4159-B491-8C8F83884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6636248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DA151-B5EF-44A1-B408-F6FFDFC3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8B0BB-DCC4-47D4-9AA5-450504C9AC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666F65-1E19-41CC-B5CD-34AFA55D0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C35FFA-2E4A-4910-9BC1-3E806DC61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267DFF-2B12-489A-BB0F-58B5280F6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337032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20CB6-B4D7-420C-B346-9B8EF3224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FF3E3A-FF5E-47FE-811E-986DA588CD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80ED05-8426-4FDC-ABDD-DF7264F5C7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33FA9-037D-4EEF-A107-643F83B88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2D38A8-8EF2-4AAD-B377-F32B0ECE9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DC3DF2-8456-4097-A66A-F339DEFD0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764137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9"/>
            </p:custDataLst>
          </p:nvPr>
        </p:nvSpPr>
        <p:spPr bwMode="gray">
          <a:xfrm>
            <a:off x="0" y="2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254">
              <a:spcBef>
                <a:spcPct val="0"/>
              </a:spcBef>
              <a:spcAft>
                <a:spcPct val="0"/>
              </a:spcAft>
            </a:pPr>
            <a:endParaRPr lang="en-US" sz="2800">
              <a:solidFill>
                <a:srgbClr val="FFFFFF"/>
              </a:solidFill>
              <a:sym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10" y="1732751"/>
            <a:ext cx="10801405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51" y="181939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pPr defTabSz="1217254"/>
            <a:fld id="{6853F12D-F7FE-4587-A789-6D0764B9FAFD}" type="datetime1">
              <a:rPr lang="en-US" smtClean="0"/>
              <a:pPr defTabSz="1217254"/>
              <a:t>4/17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defTabSz="121725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1217254"/>
              <a:t>‹Nº›</a:t>
            </a:fld>
            <a:endParaRPr lang="en-US">
              <a:solidFill>
                <a:srgbClr val="00BCFF"/>
              </a:solidFill>
            </a:endParaRPr>
          </a:p>
        </p:txBody>
      </p:sp>
      <p:grpSp>
        <p:nvGrpSpPr>
          <p:cNvPr id="17" name="BayLabel"/>
          <p:cNvGrpSpPr/>
          <p:nvPr/>
        </p:nvGrpSpPr>
        <p:grpSpPr>
          <a:xfrm>
            <a:off x="10421242" y="6548825"/>
            <a:ext cx="1363904" cy="246221"/>
            <a:chOff x="127000" y="1153240"/>
            <a:chExt cx="1363726" cy="246221"/>
          </a:xfrm>
        </p:grpSpPr>
        <p:sp>
          <p:nvSpPr>
            <p:cNvPr id="14" name="TextBox 13"/>
            <p:cNvSpPr txBox="1"/>
            <p:nvPr userDrawn="1"/>
          </p:nvSpPr>
          <p:spPr bwMode="gray">
            <a:xfrm>
              <a:off x="127000" y="1153240"/>
              <a:ext cx="1363726" cy="246221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 defTabSz="1217254">
                <a:spcBef>
                  <a:spcPct val="40000"/>
                </a:spcBef>
                <a:spcAft>
                  <a:spcPct val="0"/>
                </a:spcAft>
                <a:buClr>
                  <a:srgbClr val="005598"/>
                </a:buClr>
                <a:buSzPct val="85000"/>
              </a:pPr>
              <a:r>
                <a:rPr lang="de-DE" sz="1600" b="1">
                  <a:solidFill>
                    <a:srgbClr val="FF9900"/>
                  </a:solidFill>
                </a:rPr>
                <a:t>RESTRICTED</a:t>
              </a:r>
            </a:p>
          </p:txBody>
        </p:sp>
        <p:cxnSp>
          <p:nvCxnSpPr>
            <p:cNvPr id="15" name="Straight Connector 14"/>
            <p:cNvCxnSpPr/>
            <p:nvPr userDrawn="1"/>
          </p:nvCxnSpPr>
          <p:spPr bwMode="gray">
            <a:xfrm>
              <a:off x="127000" y="1153240"/>
              <a:ext cx="1363726" cy="0"/>
            </a:xfrm>
            <a:prstGeom prst="line">
              <a:avLst/>
            </a:prstGeom>
            <a:ln w="1905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 bwMode="gray">
            <a:xfrm>
              <a:off x="127000" y="1399461"/>
              <a:ext cx="1363726" cy="0"/>
            </a:xfrm>
            <a:prstGeom prst="line">
              <a:avLst/>
            </a:prstGeom>
            <a:ln w="1905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2B73BFF9-A960-4128-917A-D2E6807E142C}"/>
              </a:ext>
            </a:extLst>
          </p:cNvPr>
          <p:cNvSpPr txBox="1"/>
          <p:nvPr userDrawn="1"/>
        </p:nvSpPr>
        <p:spPr bwMode="gray"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algn="r">
              <a:spcBef>
                <a:spcPts val="0"/>
              </a:spcBef>
              <a:spcAft>
                <a:spcPts val="0"/>
              </a:spcAft>
              <a:buClr>
                <a:srgbClr val="005598"/>
              </a:buClr>
              <a:buSzPct val="85000"/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dirty="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3475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</p:sldLayoutIdLst>
  <p:hf hdr="0" dt="0"/>
  <p:txStyles>
    <p:titleStyle>
      <a:lvl1pPr algn="l" defTabSz="912931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2931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269573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2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539137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3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808718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4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74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31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22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77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50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17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280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755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pos="3908">
          <p15:clr>
            <a:srgbClr val="F26B43"/>
          </p15:clr>
        </p15:guide>
        <p15:guide id="3" pos="4134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2150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4086">
          <p15:clr>
            <a:srgbClr val="F26B43"/>
          </p15:clr>
        </p15:guide>
        <p15:guide id="13" pos="5894">
          <p15:clr>
            <a:srgbClr val="F26B43"/>
          </p15:clr>
        </p15:guide>
        <p15:guide id="14" pos="5666">
          <p15:clr>
            <a:srgbClr val="F26B43"/>
          </p15:clr>
        </p15:guide>
        <p15:guide id="15" pos="4020">
          <p15:clr>
            <a:srgbClr val="F26B43"/>
          </p15:clr>
        </p15:guide>
        <p15:guide id="16" orient="horz" pos="27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4AA86D-F540-4380-87A5-BDA2E19A5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2BA07F-1F55-4B38-AA7B-F25532BADA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84A72-1F88-43FA-9C82-E0BA6BF8A7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5C5108-9108-4399-A824-87CA395F1563}" type="datetimeFigureOut">
              <a:rPr lang="es-AR" smtClean="0"/>
              <a:t>17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84CE1E-28F7-4A5B-B716-15BCFF2364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93709-0CF5-4055-A885-8449C2A404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C693E-21EF-464E-888A-5021625FFEDB}" type="slidenum">
              <a:rPr lang="es-AR" smtClean="0"/>
              <a:t>‹Nº›</a:t>
            </a:fld>
            <a:endParaRPr lang="es-AR"/>
          </a:p>
        </p:txBody>
      </p:sp>
      <p:sp>
        <p:nvSpPr>
          <p:cNvPr id="7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6BBF3B45-DA9B-4291-9515-39288A9C1A8D}"/>
              </a:ext>
            </a:extLst>
          </p:cNvPr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s-AR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94160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86" r:id="rId1"/>
    <p:sldLayoutId id="2147488487" r:id="rId2"/>
    <p:sldLayoutId id="2147488488" r:id="rId3"/>
    <p:sldLayoutId id="2147488489" r:id="rId4"/>
    <p:sldLayoutId id="2147488490" r:id="rId5"/>
    <p:sldLayoutId id="2147488491" r:id="rId6"/>
    <p:sldLayoutId id="2147488492" r:id="rId7"/>
    <p:sldLayoutId id="2147488493" r:id="rId8"/>
    <p:sldLayoutId id="2147488494" r:id="rId9"/>
    <p:sldLayoutId id="2147488495" r:id="rId10"/>
    <p:sldLayoutId id="2147488496" r:id="rId11"/>
    <p:sldLayoutId id="2147488499" r:id="rId12"/>
    <p:sldLayoutId id="214748850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jpe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Relationship Id="rId1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4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11" Type="http://schemas.openxmlformats.org/officeDocument/2006/relationships/image" Target="../media/image2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svg"/><Relationship Id="rId3" Type="http://schemas.openxmlformats.org/officeDocument/2006/relationships/image" Target="../media/image31.jpeg"/><Relationship Id="rId7" Type="http://schemas.openxmlformats.org/officeDocument/2006/relationships/image" Target="../media/image35.svg"/><Relationship Id="rId12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png"/><Relationship Id="rId15" Type="http://schemas.openxmlformats.org/officeDocument/2006/relationships/image" Target="../media/image43.sv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svg"/><Relationship Id="rId1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44B417AF-7276-3141-845F-78593CDD440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5" y="0"/>
            <a:ext cx="9079396" cy="6858000"/>
          </a:xfrm>
          <a:prstGeom prst="rect">
            <a:avLst/>
          </a:prstGeom>
        </p:spPr>
      </p:pic>
      <p:grpSp>
        <p:nvGrpSpPr>
          <p:cNvPr id="2" name="Grupo 1">
            <a:extLst>
              <a:ext uri="{FF2B5EF4-FFF2-40B4-BE49-F238E27FC236}">
                <a16:creationId xmlns:a16="http://schemas.microsoft.com/office/drawing/2014/main" id="{614811E1-8E6D-0E49-BB02-653086ED583A}"/>
              </a:ext>
            </a:extLst>
          </p:cNvPr>
          <p:cNvGrpSpPr/>
          <p:nvPr/>
        </p:nvGrpSpPr>
        <p:grpSpPr>
          <a:xfrm>
            <a:off x="2065977" y="3542391"/>
            <a:ext cx="4409464" cy="2498976"/>
            <a:chOff x="5655703" y="3542391"/>
            <a:chExt cx="4409464" cy="2498976"/>
          </a:xfrm>
        </p:grpSpPr>
        <p:sp>
          <p:nvSpPr>
            <p:cNvPr id="22" name="Text Placeholder 58">
              <a:extLst>
                <a:ext uri="{FF2B5EF4-FFF2-40B4-BE49-F238E27FC236}">
                  <a16:creationId xmlns:a16="http://schemas.microsoft.com/office/drawing/2014/main" id="{0FB5E36F-0A6C-6945-9035-4756C9772730}"/>
                </a:ext>
              </a:extLst>
            </p:cNvPr>
            <p:cNvSpPr txBox="1">
              <a:spLocks/>
            </p:cNvSpPr>
            <p:nvPr/>
          </p:nvSpPr>
          <p:spPr>
            <a:xfrm>
              <a:off x="5655703" y="4329054"/>
              <a:ext cx="4409464" cy="1712313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indent="0" algn="r" defTabSz="914400" rtl="0" eaLnBrk="1" latinLnBrk="0" hangingPunct="1">
                <a:buNone/>
                <a:defRPr sz="2133" i="0" kern="1200">
                  <a:solidFill>
                    <a:srgbClr val="C1D100"/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6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quipo SGR </a:t>
              </a:r>
              <a:r>
                <a:rPr kumimoji="0" lang="es-ES" sz="2600" b="1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GA</a:t>
              </a:r>
              <a:endParaRPr kumimoji="0" lang="en-US" sz="2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0" name="Conector recto 9">
              <a:extLst>
                <a:ext uri="{FF2B5EF4-FFF2-40B4-BE49-F238E27FC236}">
                  <a16:creationId xmlns:a16="http://schemas.microsoft.com/office/drawing/2014/main" id="{21625B5B-53C5-6D4A-AE4F-E79DAF36EEB1}"/>
                </a:ext>
              </a:extLst>
            </p:cNvPr>
            <p:cNvCxnSpPr/>
            <p:nvPr/>
          </p:nvCxnSpPr>
          <p:spPr>
            <a:xfrm>
              <a:off x="7968768" y="3542391"/>
              <a:ext cx="424543" cy="0"/>
            </a:xfrm>
            <a:prstGeom prst="line">
              <a:avLst/>
            </a:prstGeom>
            <a:ln>
              <a:solidFill>
                <a:srgbClr val="66B5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Imagen 13">
            <a:extLst>
              <a:ext uri="{FF2B5EF4-FFF2-40B4-BE49-F238E27FC236}">
                <a16:creationId xmlns:a16="http://schemas.microsoft.com/office/drawing/2014/main" id="{445D9CDD-9378-1548-8976-0A816827AC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716" y="224451"/>
            <a:ext cx="523421" cy="523421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E4A3516C-C775-4DEA-AF29-B5DE832BE2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alphaModFix amt="7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1376" y="5317391"/>
            <a:ext cx="1537129" cy="653854"/>
          </a:xfrm>
          <a:prstGeom prst="roundRect">
            <a:avLst>
              <a:gd name="adj" fmla="val 27576"/>
            </a:avLst>
          </a:prstGeom>
        </p:spPr>
      </p:pic>
      <p:grpSp>
        <p:nvGrpSpPr>
          <p:cNvPr id="7" name="Grupo 6">
            <a:extLst>
              <a:ext uri="{FF2B5EF4-FFF2-40B4-BE49-F238E27FC236}">
                <a16:creationId xmlns:a16="http://schemas.microsoft.com/office/drawing/2014/main" id="{9B456C61-84FF-4723-9430-D8C1F3909942}"/>
              </a:ext>
            </a:extLst>
          </p:cNvPr>
          <p:cNvGrpSpPr/>
          <p:nvPr/>
        </p:nvGrpSpPr>
        <p:grpSpPr>
          <a:xfrm>
            <a:off x="622757" y="102002"/>
            <a:ext cx="5907655" cy="4514899"/>
            <a:chOff x="6961989" y="222039"/>
            <a:chExt cx="5907655" cy="4514899"/>
          </a:xfrm>
        </p:grpSpPr>
        <p:grpSp>
          <p:nvGrpSpPr>
            <p:cNvPr id="6" name="Grupo 5">
              <a:extLst>
                <a:ext uri="{FF2B5EF4-FFF2-40B4-BE49-F238E27FC236}">
                  <a16:creationId xmlns:a16="http://schemas.microsoft.com/office/drawing/2014/main" id="{60FD0565-DB42-45B6-B0D0-854D2B6C1061}"/>
                </a:ext>
              </a:extLst>
            </p:cNvPr>
            <p:cNvGrpSpPr/>
            <p:nvPr/>
          </p:nvGrpSpPr>
          <p:grpSpPr>
            <a:xfrm>
              <a:off x="6961989" y="222039"/>
              <a:ext cx="5907655" cy="4514899"/>
              <a:chOff x="197507" y="575330"/>
              <a:chExt cx="5907655" cy="4514899"/>
            </a:xfrm>
          </p:grpSpPr>
          <p:sp>
            <p:nvSpPr>
              <p:cNvPr id="8" name="Elipse 7">
                <a:extLst>
                  <a:ext uri="{FF2B5EF4-FFF2-40B4-BE49-F238E27FC236}">
                    <a16:creationId xmlns:a16="http://schemas.microsoft.com/office/drawing/2014/main" id="{D18F2726-21C6-4D83-8A9B-138FF8895F3E}"/>
                  </a:ext>
                </a:extLst>
              </p:cNvPr>
              <p:cNvSpPr/>
              <p:nvPr/>
            </p:nvSpPr>
            <p:spPr>
              <a:xfrm>
                <a:off x="225555" y="575330"/>
                <a:ext cx="5019382" cy="4514899"/>
              </a:xfrm>
              <a:prstGeom prst="ellipse">
                <a:avLst/>
              </a:prstGeom>
              <a:solidFill>
                <a:schemeClr val="accent5">
                  <a:lumMod val="50000"/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lecha: curvada hacia arriba 8">
                <a:extLst>
                  <a:ext uri="{FF2B5EF4-FFF2-40B4-BE49-F238E27FC236}">
                    <a16:creationId xmlns:a16="http://schemas.microsoft.com/office/drawing/2014/main" id="{B9A97A72-2B76-4F1C-BFB6-A476EDCCCA08}"/>
                  </a:ext>
                </a:extLst>
              </p:cNvPr>
              <p:cNvSpPr/>
              <p:nvPr/>
            </p:nvSpPr>
            <p:spPr>
              <a:xfrm rot="2626854">
                <a:off x="1145441" y="2811872"/>
                <a:ext cx="1250896" cy="740703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lecha: curvada hacia arriba 10">
                <a:extLst>
                  <a:ext uri="{FF2B5EF4-FFF2-40B4-BE49-F238E27FC236}">
                    <a16:creationId xmlns:a16="http://schemas.microsoft.com/office/drawing/2014/main" id="{123E8838-188B-4649-9664-B5B627034DE3}"/>
                  </a:ext>
                </a:extLst>
              </p:cNvPr>
              <p:cNvSpPr/>
              <p:nvPr/>
            </p:nvSpPr>
            <p:spPr>
              <a:xfrm rot="18703425">
                <a:off x="3852107" y="3773206"/>
                <a:ext cx="1015262" cy="579556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lecha: curvada hacia arriba 12">
                <a:extLst>
                  <a:ext uri="{FF2B5EF4-FFF2-40B4-BE49-F238E27FC236}">
                    <a16:creationId xmlns:a16="http://schemas.microsoft.com/office/drawing/2014/main" id="{5E9D828A-CE22-45F5-8701-0ED2B9B4168A}"/>
                  </a:ext>
                </a:extLst>
              </p:cNvPr>
              <p:cNvSpPr/>
              <p:nvPr/>
            </p:nvSpPr>
            <p:spPr>
              <a:xfrm rot="14005332">
                <a:off x="3968736" y="1736213"/>
                <a:ext cx="997848" cy="561125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Elipse 14">
                <a:extLst>
                  <a:ext uri="{FF2B5EF4-FFF2-40B4-BE49-F238E27FC236}">
                    <a16:creationId xmlns:a16="http://schemas.microsoft.com/office/drawing/2014/main" id="{F269C70A-C5C7-4B96-B9A5-1F0CCDE48CBD}"/>
                  </a:ext>
                </a:extLst>
              </p:cNvPr>
              <p:cNvSpPr/>
              <p:nvPr/>
            </p:nvSpPr>
            <p:spPr>
              <a:xfrm>
                <a:off x="1404593" y="1555422"/>
                <a:ext cx="873877" cy="88016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6" name="Elipse 15">
                <a:extLst>
                  <a:ext uri="{FF2B5EF4-FFF2-40B4-BE49-F238E27FC236}">
                    <a16:creationId xmlns:a16="http://schemas.microsoft.com/office/drawing/2014/main" id="{6C08034E-5B1B-455C-AD1B-BE71BC53B2EE}"/>
                  </a:ext>
                </a:extLst>
              </p:cNvPr>
              <p:cNvSpPr/>
              <p:nvPr/>
            </p:nvSpPr>
            <p:spPr>
              <a:xfrm>
                <a:off x="3138440" y="1447113"/>
                <a:ext cx="809133" cy="910014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7" name="Imagen 16">
                <a:extLst>
                  <a:ext uri="{FF2B5EF4-FFF2-40B4-BE49-F238E27FC236}">
                    <a16:creationId xmlns:a16="http://schemas.microsoft.com/office/drawing/2014/main" id="{8921DB6B-DB4A-4362-BE94-D2A7F15A657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491092" y="1619791"/>
                <a:ext cx="716437" cy="755126"/>
              </a:xfrm>
              <a:prstGeom prst="ellipse">
                <a:avLst/>
              </a:prstGeom>
              <a:ln>
                <a:noFill/>
              </a:ln>
              <a:effectLst>
                <a:softEdge rad="0"/>
              </a:effectLst>
            </p:spPr>
          </p:pic>
          <p:sp>
            <p:nvSpPr>
              <p:cNvPr id="18" name="Elipse 17">
                <a:extLst>
                  <a:ext uri="{FF2B5EF4-FFF2-40B4-BE49-F238E27FC236}">
                    <a16:creationId xmlns:a16="http://schemas.microsoft.com/office/drawing/2014/main" id="{7728A8F0-3D4B-4859-A04F-7E5E0DFE8129}"/>
                  </a:ext>
                </a:extLst>
              </p:cNvPr>
              <p:cNvSpPr/>
              <p:nvPr/>
            </p:nvSpPr>
            <p:spPr>
              <a:xfrm>
                <a:off x="5034006" y="3064257"/>
                <a:ext cx="1071156" cy="94615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19" name="Imagen 18">
                <a:extLst>
                  <a:ext uri="{FF2B5EF4-FFF2-40B4-BE49-F238E27FC236}">
                    <a16:creationId xmlns:a16="http://schemas.microsoft.com/office/drawing/2014/main" id="{73815C71-3D6B-4AD9-AA4A-7F4CA872FA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34138" y="3221900"/>
                <a:ext cx="845689" cy="650177"/>
              </a:xfrm>
              <a:prstGeom prst="ellipse">
                <a:avLst/>
              </a:prstGeom>
            </p:spPr>
          </p:pic>
          <p:pic>
            <p:nvPicPr>
              <p:cNvPr id="20" name="Imagen 19">
                <a:extLst>
                  <a:ext uri="{FF2B5EF4-FFF2-40B4-BE49-F238E27FC236}">
                    <a16:creationId xmlns:a16="http://schemas.microsoft.com/office/drawing/2014/main" id="{5C119671-997A-4A94-872B-BBAC1A82EA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74401" y="1550809"/>
                <a:ext cx="588967" cy="697583"/>
              </a:xfrm>
              <a:prstGeom prst="ellipse">
                <a:avLst/>
              </a:prstGeom>
            </p:spPr>
          </p:pic>
          <p:sp>
            <p:nvSpPr>
              <p:cNvPr id="21" name="Flecha: curvada hacia arriba 20">
                <a:extLst>
                  <a:ext uri="{FF2B5EF4-FFF2-40B4-BE49-F238E27FC236}">
                    <a16:creationId xmlns:a16="http://schemas.microsoft.com/office/drawing/2014/main" id="{A385F302-A5BE-4480-BBAB-D43512017DEA}"/>
                  </a:ext>
                </a:extLst>
              </p:cNvPr>
              <p:cNvSpPr/>
              <p:nvPr/>
            </p:nvSpPr>
            <p:spPr>
              <a:xfrm rot="5881246">
                <a:off x="-124215" y="2804127"/>
                <a:ext cx="2053027" cy="741401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lecha: curvada hacia arriba 22">
                <a:extLst>
                  <a:ext uri="{FF2B5EF4-FFF2-40B4-BE49-F238E27FC236}">
                    <a16:creationId xmlns:a16="http://schemas.microsoft.com/office/drawing/2014/main" id="{E3050159-977E-4DC7-8CEA-AD43BD18AF52}"/>
                  </a:ext>
                </a:extLst>
              </p:cNvPr>
              <p:cNvSpPr/>
              <p:nvPr/>
            </p:nvSpPr>
            <p:spPr>
              <a:xfrm rot="10314087">
                <a:off x="1920815" y="767721"/>
                <a:ext cx="1428802" cy="682052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lecha: curvada hacia arriba 23">
                <a:extLst>
                  <a:ext uri="{FF2B5EF4-FFF2-40B4-BE49-F238E27FC236}">
                    <a16:creationId xmlns:a16="http://schemas.microsoft.com/office/drawing/2014/main" id="{B2E6C6C7-CF3F-41C6-AD12-B69FFA1C0B11}"/>
                  </a:ext>
                </a:extLst>
              </p:cNvPr>
              <p:cNvSpPr/>
              <p:nvPr/>
            </p:nvSpPr>
            <p:spPr>
              <a:xfrm rot="11579706">
                <a:off x="2414887" y="1939070"/>
                <a:ext cx="681366" cy="300338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lecha: curvada hacia arriba 24">
                <a:extLst>
                  <a:ext uri="{FF2B5EF4-FFF2-40B4-BE49-F238E27FC236}">
                    <a16:creationId xmlns:a16="http://schemas.microsoft.com/office/drawing/2014/main" id="{1C868406-DF28-46C4-BB8F-25AB52C35057}"/>
                  </a:ext>
                </a:extLst>
              </p:cNvPr>
              <p:cNvSpPr/>
              <p:nvPr/>
            </p:nvSpPr>
            <p:spPr>
              <a:xfrm rot="1071763">
                <a:off x="2310190" y="2320215"/>
                <a:ext cx="688088" cy="300338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Elipse 26">
                <a:extLst>
                  <a:ext uri="{FF2B5EF4-FFF2-40B4-BE49-F238E27FC236}">
                    <a16:creationId xmlns:a16="http://schemas.microsoft.com/office/drawing/2014/main" id="{2B36DCB7-DE9E-4494-8DD7-97E0DC4896AA}"/>
                  </a:ext>
                </a:extLst>
              </p:cNvPr>
              <p:cNvSpPr/>
              <p:nvPr/>
            </p:nvSpPr>
            <p:spPr>
              <a:xfrm>
                <a:off x="2458728" y="2689684"/>
                <a:ext cx="920684" cy="930438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8" name="Imagen 27">
                <a:extLst>
                  <a:ext uri="{FF2B5EF4-FFF2-40B4-BE49-F238E27FC236}">
                    <a16:creationId xmlns:a16="http://schemas.microsoft.com/office/drawing/2014/main" id="{00EF7EFA-0568-492D-93CC-4567B99451F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568071" y="2789783"/>
                <a:ext cx="728495" cy="747140"/>
              </a:xfrm>
              <a:prstGeom prst="ellipse">
                <a:avLst/>
              </a:prstGeom>
              <a:ln>
                <a:noFill/>
              </a:ln>
              <a:effectLst>
                <a:softEdge rad="0"/>
              </a:effectLst>
            </p:spPr>
          </p:pic>
          <p:sp>
            <p:nvSpPr>
              <p:cNvPr id="30" name="Elipse 29">
                <a:extLst>
                  <a:ext uri="{FF2B5EF4-FFF2-40B4-BE49-F238E27FC236}">
                    <a16:creationId xmlns:a16="http://schemas.microsoft.com/office/drawing/2014/main" id="{585BC46C-CCB0-4F8F-B6C8-E9B7B511C7EC}"/>
                  </a:ext>
                </a:extLst>
              </p:cNvPr>
              <p:cNvSpPr/>
              <p:nvPr/>
            </p:nvSpPr>
            <p:spPr>
              <a:xfrm>
                <a:off x="197507" y="2474855"/>
                <a:ext cx="1071156" cy="94615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31" name="Imagen 30">
                <a:extLst>
                  <a:ext uri="{FF2B5EF4-FFF2-40B4-BE49-F238E27FC236}">
                    <a16:creationId xmlns:a16="http://schemas.microsoft.com/office/drawing/2014/main" id="{71F20EAE-D333-4DBF-A2C6-BFA6D96BA6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53049" y="2584347"/>
                <a:ext cx="729152" cy="747814"/>
              </a:xfrm>
              <a:prstGeom prst="ellipse">
                <a:avLst/>
              </a:prstGeom>
              <a:ln>
                <a:noFill/>
              </a:ln>
              <a:effectLst>
                <a:softEdge rad="0"/>
              </a:effectLst>
            </p:spPr>
          </p:pic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0D9236A8-DB87-4064-AF5E-BFB7F98F833A}"/>
                  </a:ext>
                </a:extLst>
              </p:cNvPr>
              <p:cNvSpPr/>
              <p:nvPr/>
            </p:nvSpPr>
            <p:spPr>
              <a:xfrm>
                <a:off x="1134523" y="3515347"/>
                <a:ext cx="990075" cy="88016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33" name="Imagen 32">
                <a:extLst>
                  <a:ext uri="{FF2B5EF4-FFF2-40B4-BE49-F238E27FC236}">
                    <a16:creationId xmlns:a16="http://schemas.microsoft.com/office/drawing/2014/main" id="{73BCFE1F-290B-41A2-93B0-E93FA45678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25" y="3589489"/>
                <a:ext cx="762514" cy="762514"/>
              </a:xfrm>
              <a:prstGeom prst="ellipse">
                <a:avLst/>
              </a:prstGeom>
            </p:spPr>
          </p:pic>
          <p:sp>
            <p:nvSpPr>
              <p:cNvPr id="34" name="Flecha: curvada hacia arriba 33">
                <a:extLst>
                  <a:ext uri="{FF2B5EF4-FFF2-40B4-BE49-F238E27FC236}">
                    <a16:creationId xmlns:a16="http://schemas.microsoft.com/office/drawing/2014/main" id="{ECD59922-45EB-457D-A4E5-E16FCC69765B}"/>
                  </a:ext>
                </a:extLst>
              </p:cNvPr>
              <p:cNvSpPr/>
              <p:nvPr/>
            </p:nvSpPr>
            <p:spPr>
              <a:xfrm rot="18875925">
                <a:off x="2131696" y="3901489"/>
                <a:ext cx="997848" cy="561125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lecha: curvada hacia arriba 34">
                <a:extLst>
                  <a:ext uri="{FF2B5EF4-FFF2-40B4-BE49-F238E27FC236}">
                    <a16:creationId xmlns:a16="http://schemas.microsoft.com/office/drawing/2014/main" id="{213C29D6-10FF-45BA-BF73-FA1A66B5294E}"/>
                  </a:ext>
                </a:extLst>
              </p:cNvPr>
              <p:cNvSpPr/>
              <p:nvPr/>
            </p:nvSpPr>
            <p:spPr>
              <a:xfrm rot="10978624">
                <a:off x="3210521" y="2476938"/>
                <a:ext cx="658323" cy="330294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Elipse 36">
                <a:extLst>
                  <a:ext uri="{FF2B5EF4-FFF2-40B4-BE49-F238E27FC236}">
                    <a16:creationId xmlns:a16="http://schemas.microsoft.com/office/drawing/2014/main" id="{28584B52-F5C2-4A92-A07B-658BB96EB9A8}"/>
                  </a:ext>
                </a:extLst>
              </p:cNvPr>
              <p:cNvSpPr/>
              <p:nvPr/>
            </p:nvSpPr>
            <p:spPr>
              <a:xfrm>
                <a:off x="2751873" y="3937333"/>
                <a:ext cx="1071156" cy="94615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4" name="Imagen 3">
                <a:extLst>
                  <a:ext uri="{FF2B5EF4-FFF2-40B4-BE49-F238E27FC236}">
                    <a16:creationId xmlns:a16="http://schemas.microsoft.com/office/drawing/2014/main" id="{37D1C88C-DDBB-4FF9-A47E-12FDD371BF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66163" y="4025750"/>
                <a:ext cx="842536" cy="798523"/>
              </a:xfrm>
              <a:prstGeom prst="ellipse">
                <a:avLst/>
              </a:prstGeom>
            </p:spPr>
          </p:pic>
        </p:grpSp>
        <p:sp>
          <p:nvSpPr>
            <p:cNvPr id="38" name="Flecha: curvada hacia arriba 37">
              <a:extLst>
                <a:ext uri="{FF2B5EF4-FFF2-40B4-BE49-F238E27FC236}">
                  <a16:creationId xmlns:a16="http://schemas.microsoft.com/office/drawing/2014/main" id="{C5BF847A-BE2E-45F3-A651-A04E4F5FEF54}"/>
                </a:ext>
              </a:extLst>
            </p:cNvPr>
            <p:cNvSpPr/>
            <p:nvPr/>
          </p:nvSpPr>
          <p:spPr>
            <a:xfrm rot="11579706">
              <a:off x="10104767" y="2935383"/>
              <a:ext cx="681366" cy="300338"/>
            </a:xfrm>
            <a:prstGeom prst="curvedUpArrow">
              <a:avLst>
                <a:gd name="adj1" fmla="val 23241"/>
                <a:gd name="adj2" fmla="val 50000"/>
                <a:gd name="adj3" fmla="val 25000"/>
              </a:avLst>
            </a:prstGeom>
            <a:noFill/>
            <a:ln>
              <a:solidFill>
                <a:schemeClr val="bg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lecha: curvada hacia arriba 38">
              <a:extLst>
                <a:ext uri="{FF2B5EF4-FFF2-40B4-BE49-F238E27FC236}">
                  <a16:creationId xmlns:a16="http://schemas.microsoft.com/office/drawing/2014/main" id="{9297C806-7081-4219-93BC-83EBD3E9FE73}"/>
                </a:ext>
              </a:extLst>
            </p:cNvPr>
            <p:cNvSpPr/>
            <p:nvPr/>
          </p:nvSpPr>
          <p:spPr>
            <a:xfrm rot="1071763">
              <a:off x="10000070" y="3316528"/>
              <a:ext cx="688088" cy="300338"/>
            </a:xfrm>
            <a:prstGeom prst="curvedUpArrow">
              <a:avLst>
                <a:gd name="adj1" fmla="val 23241"/>
                <a:gd name="adj2" fmla="val 50000"/>
                <a:gd name="adj3" fmla="val 25000"/>
              </a:avLst>
            </a:prstGeom>
            <a:noFill/>
            <a:ln>
              <a:solidFill>
                <a:schemeClr val="bg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6" name="Imagen 35">
            <a:extLst>
              <a:ext uri="{FF2B5EF4-FFF2-40B4-BE49-F238E27FC236}">
                <a16:creationId xmlns:a16="http://schemas.microsoft.com/office/drawing/2014/main" id="{7BA442F2-57AD-45EC-9F5A-FDFC542EC18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3305" y="4914971"/>
            <a:ext cx="727762" cy="675779"/>
          </a:xfrm>
          <a:prstGeom prst="ellipse">
            <a:avLst/>
          </a:prstGeom>
        </p:spPr>
      </p:pic>
      <p:grpSp>
        <p:nvGrpSpPr>
          <p:cNvPr id="43" name="Grupo 42">
            <a:extLst>
              <a:ext uri="{FF2B5EF4-FFF2-40B4-BE49-F238E27FC236}">
                <a16:creationId xmlns:a16="http://schemas.microsoft.com/office/drawing/2014/main" id="{523A5D39-183E-4EC7-AF97-1D8C7611493F}"/>
              </a:ext>
            </a:extLst>
          </p:cNvPr>
          <p:cNvGrpSpPr/>
          <p:nvPr/>
        </p:nvGrpSpPr>
        <p:grpSpPr>
          <a:xfrm>
            <a:off x="9153725" y="124869"/>
            <a:ext cx="3038273" cy="5916498"/>
            <a:chOff x="10801857" y="3157467"/>
            <a:chExt cx="2515770" cy="2084138"/>
          </a:xfrm>
        </p:grpSpPr>
        <p:sp>
          <p:nvSpPr>
            <p:cNvPr id="44" name="Rectángulo 43">
              <a:extLst>
                <a:ext uri="{FF2B5EF4-FFF2-40B4-BE49-F238E27FC236}">
                  <a16:creationId xmlns:a16="http://schemas.microsoft.com/office/drawing/2014/main" id="{90113632-8B7B-4B82-8CC2-46597CD39931}"/>
                </a:ext>
              </a:extLst>
            </p:cNvPr>
            <p:cNvSpPr/>
            <p:nvPr/>
          </p:nvSpPr>
          <p:spPr>
            <a:xfrm>
              <a:off x="10801859" y="3416933"/>
              <a:ext cx="2459384" cy="18246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Subtítulo 2">
              <a:extLst>
                <a:ext uri="{FF2B5EF4-FFF2-40B4-BE49-F238E27FC236}">
                  <a16:creationId xmlns:a16="http://schemas.microsoft.com/office/drawing/2014/main" id="{2626A93D-93F6-44FB-BC19-FE0859816DA4}"/>
                </a:ext>
              </a:extLst>
            </p:cNvPr>
            <p:cNvSpPr txBox="1">
              <a:spLocks/>
            </p:cNvSpPr>
            <p:nvPr/>
          </p:nvSpPr>
          <p:spPr>
            <a:xfrm>
              <a:off x="10803927" y="3747638"/>
              <a:ext cx="2513700" cy="1388886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50000"/>
                </a:lnSpc>
                <a:defRPr/>
              </a:pPr>
              <a:r>
                <a:rPr lang="es-ES" sz="1400" dirty="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Creación, liberación y seguimiento de PO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 dirty="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Seguimiento de la facturación de los proveedores.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 dirty="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Creación de ASSET para Máquinas/</a:t>
              </a:r>
              <a:r>
                <a:rPr lang="es-ES" sz="1400" dirty="0" err="1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Phytobac</a:t>
              </a:r>
              <a:r>
                <a:rPr lang="es-ES" sz="1400" dirty="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/</a:t>
              </a:r>
              <a:r>
                <a:rPr lang="es-ES" sz="1400" dirty="0" err="1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Acronex</a:t>
              </a:r>
              <a:endParaRPr lang="es-ES" sz="1400" dirty="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 dirty="0" err="1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Forecast</a:t>
              </a:r>
              <a:r>
                <a:rPr lang="es-ES" sz="1400" dirty="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 y Presupuesto Área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 dirty="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Carga de contratos CLMS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 dirty="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Focal </a:t>
              </a:r>
              <a:r>
                <a:rPr lang="es-ES" sz="1400" dirty="0" err="1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Acronex</a:t>
              </a:r>
              <a:endParaRPr lang="es-ES" sz="1400" dirty="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  <a:p>
              <a:pPr algn="l">
                <a:lnSpc>
                  <a:spcPct val="150000"/>
                </a:lnSpc>
                <a:defRPr/>
              </a:pPr>
              <a:endParaRPr lang="es-ES" sz="1400" dirty="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  <a:p>
              <a:pPr algn="l">
                <a:lnSpc>
                  <a:spcPct val="150000"/>
                </a:lnSpc>
                <a:defRPr/>
              </a:pPr>
              <a:endParaRPr lang="es-ES" sz="1400" dirty="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  <a:p>
              <a:pPr algn="l">
                <a:lnSpc>
                  <a:spcPct val="150000"/>
                </a:lnSpc>
                <a:defRPr/>
              </a:pPr>
              <a:endParaRPr lang="es-ES" sz="1400" dirty="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</p:txBody>
        </p:sp>
        <p:sp>
          <p:nvSpPr>
            <p:cNvPr id="46" name="Rectángulo 45">
              <a:extLst>
                <a:ext uri="{FF2B5EF4-FFF2-40B4-BE49-F238E27FC236}">
                  <a16:creationId xmlns:a16="http://schemas.microsoft.com/office/drawing/2014/main" id="{FB7CDF4E-BEF9-4E1D-89BB-DD4492C7480D}"/>
                </a:ext>
              </a:extLst>
            </p:cNvPr>
            <p:cNvSpPr/>
            <p:nvPr/>
          </p:nvSpPr>
          <p:spPr>
            <a:xfrm>
              <a:off x="10801857" y="5180660"/>
              <a:ext cx="2459385" cy="60945"/>
            </a:xfrm>
            <a:prstGeom prst="rect">
              <a:avLst/>
            </a:prstGeom>
            <a:solidFill>
              <a:srgbClr val="32C2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ángulo 46">
              <a:extLst>
                <a:ext uri="{FF2B5EF4-FFF2-40B4-BE49-F238E27FC236}">
                  <a16:creationId xmlns:a16="http://schemas.microsoft.com/office/drawing/2014/main" id="{D0DDCB62-E0A2-4DCB-9DA0-46325AAEE7F2}"/>
                </a:ext>
              </a:extLst>
            </p:cNvPr>
            <p:cNvSpPr/>
            <p:nvPr/>
          </p:nvSpPr>
          <p:spPr>
            <a:xfrm>
              <a:off x="10801858" y="3157467"/>
              <a:ext cx="2459384" cy="437720"/>
            </a:xfrm>
            <a:prstGeom prst="rect">
              <a:avLst/>
            </a:prstGeom>
            <a:solidFill>
              <a:srgbClr val="32C2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Subtítulo 2">
              <a:extLst>
                <a:ext uri="{FF2B5EF4-FFF2-40B4-BE49-F238E27FC236}">
                  <a16:creationId xmlns:a16="http://schemas.microsoft.com/office/drawing/2014/main" id="{DC4FC172-1C12-4D0F-BAD3-19C6AC6B604B}"/>
                </a:ext>
              </a:extLst>
            </p:cNvPr>
            <p:cNvSpPr txBox="1">
              <a:spLocks/>
            </p:cNvSpPr>
            <p:nvPr/>
          </p:nvSpPr>
          <p:spPr>
            <a:xfrm>
              <a:off x="10962819" y="3291771"/>
              <a:ext cx="1866824" cy="258661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areas</a:t>
              </a:r>
            </a:p>
          </p:txBody>
        </p:sp>
      </p:grpSp>
      <p:grpSp>
        <p:nvGrpSpPr>
          <p:cNvPr id="57" name="Gruppieren 5">
            <a:extLst>
              <a:ext uri="{FF2B5EF4-FFF2-40B4-BE49-F238E27FC236}">
                <a16:creationId xmlns:a16="http://schemas.microsoft.com/office/drawing/2014/main" id="{39CCA463-7449-4080-A8E3-DCDB090B56A3}"/>
              </a:ext>
            </a:extLst>
          </p:cNvPr>
          <p:cNvGrpSpPr/>
          <p:nvPr/>
        </p:nvGrpSpPr>
        <p:grpSpPr bwMode="gray">
          <a:xfrm>
            <a:off x="1507788" y="4922197"/>
            <a:ext cx="827862" cy="1848256"/>
            <a:chOff x="8585011" y="3347185"/>
            <a:chExt cx="976490" cy="2600181"/>
          </a:xfrm>
        </p:grpSpPr>
        <p:grpSp>
          <p:nvGrpSpPr>
            <p:cNvPr id="58" name="Argentina">
              <a:extLst>
                <a:ext uri="{FF2B5EF4-FFF2-40B4-BE49-F238E27FC236}">
                  <a16:creationId xmlns:a16="http://schemas.microsoft.com/office/drawing/2014/main" id="{80A684AA-1EB0-4B5A-915E-A838D2BD8FC5}"/>
                </a:ext>
              </a:extLst>
            </p:cNvPr>
            <p:cNvGrpSpPr/>
            <p:nvPr/>
          </p:nvGrpSpPr>
          <p:grpSpPr bwMode="gray">
            <a:xfrm>
              <a:off x="8696492" y="4044171"/>
              <a:ext cx="784295" cy="1875620"/>
              <a:chOff x="7035852" y="5418305"/>
              <a:chExt cx="508415" cy="1217015"/>
            </a:xfrm>
            <a:solidFill>
              <a:srgbClr val="89D329"/>
            </a:solidFill>
          </p:grpSpPr>
          <p:sp>
            <p:nvSpPr>
              <p:cNvPr id="88" name="Argentina">
                <a:extLst>
                  <a:ext uri="{FF2B5EF4-FFF2-40B4-BE49-F238E27FC236}">
                    <a16:creationId xmlns:a16="http://schemas.microsoft.com/office/drawing/2014/main" id="{D4A4C6B0-4A0D-4377-8579-15086F3DE87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35852" y="5418305"/>
                <a:ext cx="508415" cy="1118156"/>
              </a:xfrm>
              <a:custGeom>
                <a:avLst/>
                <a:gdLst>
                  <a:gd name="T0" fmla="*/ 631 w 700"/>
                  <a:gd name="T1" fmla="*/ 320 h 1555"/>
                  <a:gd name="T2" fmla="*/ 695 w 700"/>
                  <a:gd name="T3" fmla="*/ 273 h 1555"/>
                  <a:gd name="T4" fmla="*/ 650 w 700"/>
                  <a:gd name="T5" fmla="*/ 197 h 1555"/>
                  <a:gd name="T6" fmla="*/ 595 w 700"/>
                  <a:gd name="T7" fmla="*/ 284 h 1555"/>
                  <a:gd name="T8" fmla="*/ 511 w 700"/>
                  <a:gd name="T9" fmla="*/ 275 h 1555"/>
                  <a:gd name="T10" fmla="*/ 512 w 700"/>
                  <a:gd name="T11" fmla="*/ 214 h 1555"/>
                  <a:gd name="T12" fmla="*/ 425 w 700"/>
                  <a:gd name="T13" fmla="*/ 132 h 1555"/>
                  <a:gd name="T14" fmla="*/ 314 w 700"/>
                  <a:gd name="T15" fmla="*/ 67 h 1555"/>
                  <a:gd name="T16" fmla="*/ 207 w 700"/>
                  <a:gd name="T17" fmla="*/ 12 h 1555"/>
                  <a:gd name="T18" fmla="*/ 110 w 700"/>
                  <a:gd name="T19" fmla="*/ 0 h 1555"/>
                  <a:gd name="T20" fmla="*/ 78 w 700"/>
                  <a:gd name="T21" fmla="*/ 31 h 1555"/>
                  <a:gd name="T22" fmla="*/ 79 w 700"/>
                  <a:gd name="T23" fmla="*/ 60 h 1555"/>
                  <a:gd name="T24" fmla="*/ 26 w 700"/>
                  <a:gd name="T25" fmla="*/ 191 h 1555"/>
                  <a:gd name="T26" fmla="*/ 34 w 700"/>
                  <a:gd name="T27" fmla="*/ 269 h 1555"/>
                  <a:gd name="T28" fmla="*/ 2 w 700"/>
                  <a:gd name="T29" fmla="*/ 385 h 1555"/>
                  <a:gd name="T30" fmla="*/ 0 w 700"/>
                  <a:gd name="T31" fmla="*/ 480 h 1555"/>
                  <a:gd name="T32" fmla="*/ 31 w 700"/>
                  <a:gd name="T33" fmla="*/ 541 h 1555"/>
                  <a:gd name="T34" fmla="*/ 60 w 700"/>
                  <a:gd name="T35" fmla="*/ 590 h 1555"/>
                  <a:gd name="T36" fmla="*/ 61 w 700"/>
                  <a:gd name="T37" fmla="*/ 695 h 1555"/>
                  <a:gd name="T38" fmla="*/ 65 w 700"/>
                  <a:gd name="T39" fmla="*/ 755 h 1555"/>
                  <a:gd name="T40" fmla="*/ 79 w 700"/>
                  <a:gd name="T41" fmla="*/ 837 h 1555"/>
                  <a:gd name="T42" fmla="*/ 83 w 700"/>
                  <a:gd name="T43" fmla="*/ 906 h 1555"/>
                  <a:gd name="T44" fmla="*/ 91 w 700"/>
                  <a:gd name="T45" fmla="*/ 951 h 1555"/>
                  <a:gd name="T46" fmla="*/ 123 w 700"/>
                  <a:gd name="T47" fmla="*/ 1039 h 1555"/>
                  <a:gd name="T48" fmla="*/ 137 w 700"/>
                  <a:gd name="T49" fmla="*/ 1099 h 1555"/>
                  <a:gd name="T50" fmla="*/ 163 w 700"/>
                  <a:gd name="T51" fmla="*/ 1165 h 1555"/>
                  <a:gd name="T52" fmla="*/ 196 w 700"/>
                  <a:gd name="T53" fmla="*/ 1207 h 1555"/>
                  <a:gd name="T54" fmla="*/ 208 w 700"/>
                  <a:gd name="T55" fmla="*/ 1268 h 1555"/>
                  <a:gd name="T56" fmla="*/ 201 w 700"/>
                  <a:gd name="T57" fmla="*/ 1338 h 1555"/>
                  <a:gd name="T58" fmla="*/ 205 w 700"/>
                  <a:gd name="T59" fmla="*/ 1392 h 1555"/>
                  <a:gd name="T60" fmla="*/ 207 w 700"/>
                  <a:gd name="T61" fmla="*/ 1453 h 1555"/>
                  <a:gd name="T62" fmla="*/ 278 w 700"/>
                  <a:gd name="T63" fmla="*/ 1500 h 1555"/>
                  <a:gd name="T64" fmla="*/ 331 w 700"/>
                  <a:gd name="T65" fmla="*/ 1541 h 1555"/>
                  <a:gd name="T66" fmla="*/ 432 w 700"/>
                  <a:gd name="T67" fmla="*/ 1525 h 1555"/>
                  <a:gd name="T68" fmla="*/ 400 w 700"/>
                  <a:gd name="T69" fmla="*/ 1477 h 1555"/>
                  <a:gd name="T70" fmla="*/ 383 w 700"/>
                  <a:gd name="T71" fmla="*/ 1446 h 1555"/>
                  <a:gd name="T72" fmla="*/ 429 w 700"/>
                  <a:gd name="T73" fmla="*/ 1443 h 1555"/>
                  <a:gd name="T74" fmla="*/ 462 w 700"/>
                  <a:gd name="T75" fmla="*/ 1334 h 1555"/>
                  <a:gd name="T76" fmla="*/ 412 w 700"/>
                  <a:gd name="T77" fmla="*/ 1291 h 1555"/>
                  <a:gd name="T78" fmla="*/ 384 w 700"/>
                  <a:gd name="T79" fmla="*/ 1202 h 1555"/>
                  <a:gd name="T80" fmla="*/ 415 w 700"/>
                  <a:gd name="T81" fmla="*/ 1170 h 1555"/>
                  <a:gd name="T82" fmla="*/ 436 w 700"/>
                  <a:gd name="T83" fmla="*/ 1092 h 1555"/>
                  <a:gd name="T84" fmla="*/ 449 w 700"/>
                  <a:gd name="T85" fmla="*/ 1082 h 1555"/>
                  <a:gd name="T86" fmla="*/ 412 w 700"/>
                  <a:gd name="T87" fmla="*/ 1050 h 1555"/>
                  <a:gd name="T88" fmla="*/ 406 w 700"/>
                  <a:gd name="T89" fmla="*/ 982 h 1555"/>
                  <a:gd name="T90" fmla="*/ 468 w 700"/>
                  <a:gd name="T91" fmla="*/ 936 h 1555"/>
                  <a:gd name="T92" fmla="*/ 456 w 700"/>
                  <a:gd name="T93" fmla="*/ 871 h 1555"/>
                  <a:gd name="T94" fmla="*/ 527 w 700"/>
                  <a:gd name="T95" fmla="*/ 889 h 1555"/>
                  <a:gd name="T96" fmla="*/ 644 w 700"/>
                  <a:gd name="T97" fmla="*/ 821 h 1555"/>
                  <a:gd name="T98" fmla="*/ 659 w 700"/>
                  <a:gd name="T99" fmla="*/ 748 h 1555"/>
                  <a:gd name="T100" fmla="*/ 629 w 700"/>
                  <a:gd name="T101" fmla="*/ 698 h 1555"/>
                  <a:gd name="T102" fmla="*/ 545 w 700"/>
                  <a:gd name="T103" fmla="*/ 608 h 1555"/>
                  <a:gd name="T104" fmla="*/ 557 w 700"/>
                  <a:gd name="T105" fmla="*/ 535 h 1555"/>
                  <a:gd name="T106" fmla="*/ 544 w 700"/>
                  <a:gd name="T107" fmla="*/ 471 h 1555"/>
                  <a:gd name="T108" fmla="*/ 559 w 700"/>
                  <a:gd name="T109" fmla="*/ 412 h 1555"/>
                  <a:gd name="T110" fmla="*/ 607 w 700"/>
                  <a:gd name="T111" fmla="*/ 341 h 1555"/>
                  <a:gd name="T112" fmla="*/ 590 w 700"/>
                  <a:gd name="T113" fmla="*/ 650 h 1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0" h="1555">
                    <a:moveTo>
                      <a:pt x="607" y="341"/>
                    </a:moveTo>
                    <a:cubicBezTo>
                      <a:pt x="622" y="337"/>
                      <a:pt x="622" y="337"/>
                      <a:pt x="622" y="337"/>
                    </a:cubicBezTo>
                    <a:cubicBezTo>
                      <a:pt x="625" y="322"/>
                      <a:pt x="625" y="322"/>
                      <a:pt x="625" y="322"/>
                    </a:cubicBezTo>
                    <a:cubicBezTo>
                      <a:pt x="631" y="320"/>
                      <a:pt x="631" y="320"/>
                      <a:pt x="631" y="320"/>
                    </a:cubicBezTo>
                    <a:cubicBezTo>
                      <a:pt x="632" y="309"/>
                      <a:pt x="632" y="309"/>
                      <a:pt x="632" y="309"/>
                    </a:cubicBezTo>
                    <a:cubicBezTo>
                      <a:pt x="652" y="307"/>
                      <a:pt x="652" y="307"/>
                      <a:pt x="652" y="307"/>
                    </a:cubicBezTo>
                    <a:cubicBezTo>
                      <a:pt x="652" y="307"/>
                      <a:pt x="652" y="290"/>
                      <a:pt x="662" y="285"/>
                    </a:cubicBezTo>
                    <a:cubicBezTo>
                      <a:pt x="673" y="280"/>
                      <a:pt x="689" y="278"/>
                      <a:pt x="695" y="273"/>
                    </a:cubicBezTo>
                    <a:cubicBezTo>
                      <a:pt x="700" y="267"/>
                      <a:pt x="693" y="230"/>
                      <a:pt x="693" y="222"/>
                    </a:cubicBezTo>
                    <a:cubicBezTo>
                      <a:pt x="693" y="213"/>
                      <a:pt x="682" y="214"/>
                      <a:pt x="682" y="214"/>
                    </a:cubicBezTo>
                    <a:cubicBezTo>
                      <a:pt x="682" y="214"/>
                      <a:pt x="678" y="194"/>
                      <a:pt x="672" y="190"/>
                    </a:cubicBezTo>
                    <a:cubicBezTo>
                      <a:pt x="665" y="186"/>
                      <a:pt x="650" y="197"/>
                      <a:pt x="650" y="197"/>
                    </a:cubicBezTo>
                    <a:cubicBezTo>
                      <a:pt x="650" y="197"/>
                      <a:pt x="652" y="230"/>
                      <a:pt x="650" y="241"/>
                    </a:cubicBezTo>
                    <a:cubicBezTo>
                      <a:pt x="648" y="252"/>
                      <a:pt x="628" y="265"/>
                      <a:pt x="621" y="265"/>
                    </a:cubicBezTo>
                    <a:cubicBezTo>
                      <a:pt x="614" y="265"/>
                      <a:pt x="612" y="281"/>
                      <a:pt x="609" y="288"/>
                    </a:cubicBezTo>
                    <a:cubicBezTo>
                      <a:pt x="605" y="295"/>
                      <a:pt x="604" y="286"/>
                      <a:pt x="595" y="284"/>
                    </a:cubicBezTo>
                    <a:cubicBezTo>
                      <a:pt x="587" y="282"/>
                      <a:pt x="587" y="300"/>
                      <a:pt x="587" y="300"/>
                    </a:cubicBezTo>
                    <a:cubicBezTo>
                      <a:pt x="580" y="290"/>
                      <a:pt x="580" y="290"/>
                      <a:pt x="580" y="290"/>
                    </a:cubicBezTo>
                    <a:cubicBezTo>
                      <a:pt x="580" y="290"/>
                      <a:pt x="559" y="292"/>
                      <a:pt x="543" y="288"/>
                    </a:cubicBezTo>
                    <a:cubicBezTo>
                      <a:pt x="526" y="284"/>
                      <a:pt x="520" y="277"/>
                      <a:pt x="511" y="275"/>
                    </a:cubicBezTo>
                    <a:cubicBezTo>
                      <a:pt x="502" y="272"/>
                      <a:pt x="487" y="281"/>
                      <a:pt x="482" y="275"/>
                    </a:cubicBezTo>
                    <a:cubicBezTo>
                      <a:pt x="478" y="268"/>
                      <a:pt x="497" y="242"/>
                      <a:pt x="497" y="242"/>
                    </a:cubicBezTo>
                    <a:cubicBezTo>
                      <a:pt x="497" y="221"/>
                      <a:pt x="497" y="221"/>
                      <a:pt x="497" y="221"/>
                    </a:cubicBezTo>
                    <a:cubicBezTo>
                      <a:pt x="497" y="221"/>
                      <a:pt x="508" y="221"/>
                      <a:pt x="512" y="214"/>
                    </a:cubicBezTo>
                    <a:cubicBezTo>
                      <a:pt x="516" y="207"/>
                      <a:pt x="503" y="200"/>
                      <a:pt x="503" y="200"/>
                    </a:cubicBezTo>
                    <a:cubicBezTo>
                      <a:pt x="503" y="200"/>
                      <a:pt x="513" y="183"/>
                      <a:pt x="515" y="176"/>
                    </a:cubicBezTo>
                    <a:cubicBezTo>
                      <a:pt x="517" y="168"/>
                      <a:pt x="484" y="161"/>
                      <a:pt x="478" y="160"/>
                    </a:cubicBezTo>
                    <a:cubicBezTo>
                      <a:pt x="473" y="159"/>
                      <a:pt x="425" y="132"/>
                      <a:pt x="425" y="132"/>
                    </a:cubicBezTo>
                    <a:cubicBezTo>
                      <a:pt x="425" y="132"/>
                      <a:pt x="405" y="113"/>
                      <a:pt x="395" y="117"/>
                    </a:cubicBezTo>
                    <a:cubicBezTo>
                      <a:pt x="386" y="121"/>
                      <a:pt x="352" y="102"/>
                      <a:pt x="352" y="102"/>
                    </a:cubicBezTo>
                    <a:cubicBezTo>
                      <a:pt x="348" y="88"/>
                      <a:pt x="348" y="88"/>
                      <a:pt x="348" y="88"/>
                    </a:cubicBezTo>
                    <a:cubicBezTo>
                      <a:pt x="348" y="88"/>
                      <a:pt x="323" y="72"/>
                      <a:pt x="314" y="67"/>
                    </a:cubicBezTo>
                    <a:cubicBezTo>
                      <a:pt x="305" y="62"/>
                      <a:pt x="290" y="34"/>
                      <a:pt x="290" y="34"/>
                    </a:cubicBezTo>
                    <a:cubicBezTo>
                      <a:pt x="278" y="23"/>
                      <a:pt x="278" y="23"/>
                      <a:pt x="278" y="23"/>
                    </a:cubicBezTo>
                    <a:cubicBezTo>
                      <a:pt x="256" y="7"/>
                      <a:pt x="256" y="7"/>
                      <a:pt x="256" y="7"/>
                    </a:cubicBezTo>
                    <a:cubicBezTo>
                      <a:pt x="207" y="12"/>
                      <a:pt x="207" y="12"/>
                      <a:pt x="207" y="12"/>
                    </a:cubicBezTo>
                    <a:cubicBezTo>
                      <a:pt x="202" y="48"/>
                      <a:pt x="202" y="48"/>
                      <a:pt x="202" y="48"/>
                    </a:cubicBezTo>
                    <a:cubicBezTo>
                      <a:pt x="181" y="15"/>
                      <a:pt x="181" y="15"/>
                      <a:pt x="181" y="15"/>
                    </a:cubicBezTo>
                    <a:cubicBezTo>
                      <a:pt x="181" y="15"/>
                      <a:pt x="141" y="16"/>
                      <a:pt x="128" y="12"/>
                    </a:cubicBezTo>
                    <a:cubicBezTo>
                      <a:pt x="115" y="9"/>
                      <a:pt x="110" y="0"/>
                      <a:pt x="110" y="0"/>
                    </a:cubicBezTo>
                    <a:cubicBezTo>
                      <a:pt x="102" y="16"/>
                      <a:pt x="102" y="16"/>
                      <a:pt x="102" y="16"/>
                    </a:cubicBezTo>
                    <a:cubicBezTo>
                      <a:pt x="88" y="19"/>
                      <a:pt x="88" y="19"/>
                      <a:pt x="88" y="19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78" y="31"/>
                      <a:pt x="78" y="31"/>
                      <a:pt x="78" y="3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5" y="50"/>
                      <a:pt x="71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9" y="60"/>
                      <a:pt x="79" y="60"/>
                      <a:pt x="79" y="60"/>
                    </a:cubicBezTo>
                    <a:cubicBezTo>
                      <a:pt x="73" y="114"/>
                      <a:pt x="73" y="114"/>
                      <a:pt x="73" y="114"/>
                    </a:cubicBezTo>
                    <a:cubicBezTo>
                      <a:pt x="73" y="114"/>
                      <a:pt x="20" y="137"/>
                      <a:pt x="21" y="151"/>
                    </a:cubicBezTo>
                    <a:cubicBezTo>
                      <a:pt x="22" y="164"/>
                      <a:pt x="48" y="158"/>
                      <a:pt x="39" y="167"/>
                    </a:cubicBezTo>
                    <a:cubicBezTo>
                      <a:pt x="31" y="176"/>
                      <a:pt x="21" y="184"/>
                      <a:pt x="26" y="191"/>
                    </a:cubicBezTo>
                    <a:cubicBezTo>
                      <a:pt x="31" y="198"/>
                      <a:pt x="49" y="205"/>
                      <a:pt x="48" y="215"/>
                    </a:cubicBezTo>
                    <a:cubicBezTo>
                      <a:pt x="47" y="225"/>
                      <a:pt x="31" y="236"/>
                      <a:pt x="31" y="236"/>
                    </a:cubicBezTo>
                    <a:cubicBezTo>
                      <a:pt x="31" y="236"/>
                      <a:pt x="60" y="247"/>
                      <a:pt x="57" y="257"/>
                    </a:cubicBezTo>
                    <a:cubicBezTo>
                      <a:pt x="55" y="268"/>
                      <a:pt x="34" y="269"/>
                      <a:pt x="34" y="269"/>
                    </a:cubicBezTo>
                    <a:cubicBezTo>
                      <a:pt x="34" y="269"/>
                      <a:pt x="28" y="305"/>
                      <a:pt x="27" y="310"/>
                    </a:cubicBezTo>
                    <a:cubicBezTo>
                      <a:pt x="26" y="315"/>
                      <a:pt x="9" y="323"/>
                      <a:pt x="9" y="332"/>
                    </a:cubicBezTo>
                    <a:cubicBezTo>
                      <a:pt x="9" y="342"/>
                      <a:pt x="13" y="366"/>
                      <a:pt x="12" y="370"/>
                    </a:cubicBezTo>
                    <a:cubicBezTo>
                      <a:pt x="10" y="373"/>
                      <a:pt x="1" y="381"/>
                      <a:pt x="2" y="385"/>
                    </a:cubicBezTo>
                    <a:cubicBezTo>
                      <a:pt x="3" y="389"/>
                      <a:pt x="25" y="432"/>
                      <a:pt x="20" y="437"/>
                    </a:cubicBezTo>
                    <a:cubicBezTo>
                      <a:pt x="15" y="442"/>
                      <a:pt x="7" y="437"/>
                      <a:pt x="7" y="437"/>
                    </a:cubicBezTo>
                    <a:cubicBezTo>
                      <a:pt x="10" y="474"/>
                      <a:pt x="10" y="474"/>
                      <a:pt x="10" y="474"/>
                    </a:cubicBezTo>
                    <a:cubicBezTo>
                      <a:pt x="10" y="474"/>
                      <a:pt x="0" y="475"/>
                      <a:pt x="0" y="480"/>
                    </a:cubicBezTo>
                    <a:cubicBezTo>
                      <a:pt x="0" y="485"/>
                      <a:pt x="2" y="501"/>
                      <a:pt x="2" y="501"/>
                    </a:cubicBezTo>
                    <a:cubicBezTo>
                      <a:pt x="2" y="501"/>
                      <a:pt x="24" y="516"/>
                      <a:pt x="22" y="519"/>
                    </a:cubicBezTo>
                    <a:cubicBezTo>
                      <a:pt x="20" y="523"/>
                      <a:pt x="18" y="532"/>
                      <a:pt x="18" y="532"/>
                    </a:cubicBezTo>
                    <a:cubicBezTo>
                      <a:pt x="31" y="541"/>
                      <a:pt x="31" y="541"/>
                      <a:pt x="31" y="541"/>
                    </a:cubicBezTo>
                    <a:cubicBezTo>
                      <a:pt x="38" y="562"/>
                      <a:pt x="38" y="562"/>
                      <a:pt x="38" y="562"/>
                    </a:cubicBezTo>
                    <a:cubicBezTo>
                      <a:pt x="41" y="567"/>
                      <a:pt x="41" y="567"/>
                      <a:pt x="41" y="567"/>
                    </a:cubicBezTo>
                    <a:cubicBezTo>
                      <a:pt x="41" y="567"/>
                      <a:pt x="34" y="586"/>
                      <a:pt x="45" y="589"/>
                    </a:cubicBezTo>
                    <a:cubicBezTo>
                      <a:pt x="57" y="591"/>
                      <a:pt x="60" y="590"/>
                      <a:pt x="60" y="590"/>
                    </a:cubicBezTo>
                    <a:cubicBezTo>
                      <a:pt x="62" y="614"/>
                      <a:pt x="62" y="614"/>
                      <a:pt x="62" y="614"/>
                    </a:cubicBezTo>
                    <a:cubicBezTo>
                      <a:pt x="62" y="614"/>
                      <a:pt x="77" y="632"/>
                      <a:pt x="74" y="637"/>
                    </a:cubicBezTo>
                    <a:cubicBezTo>
                      <a:pt x="71" y="643"/>
                      <a:pt x="62" y="650"/>
                      <a:pt x="62" y="654"/>
                    </a:cubicBezTo>
                    <a:cubicBezTo>
                      <a:pt x="62" y="658"/>
                      <a:pt x="61" y="695"/>
                      <a:pt x="61" y="695"/>
                    </a:cubicBezTo>
                    <a:cubicBezTo>
                      <a:pt x="53" y="696"/>
                      <a:pt x="53" y="696"/>
                      <a:pt x="53" y="696"/>
                    </a:cubicBezTo>
                    <a:cubicBezTo>
                      <a:pt x="53" y="696"/>
                      <a:pt x="69" y="713"/>
                      <a:pt x="70" y="723"/>
                    </a:cubicBezTo>
                    <a:cubicBezTo>
                      <a:pt x="71" y="733"/>
                      <a:pt x="67" y="743"/>
                      <a:pt x="67" y="743"/>
                    </a:cubicBezTo>
                    <a:cubicBezTo>
                      <a:pt x="65" y="755"/>
                      <a:pt x="65" y="755"/>
                      <a:pt x="65" y="755"/>
                    </a:cubicBezTo>
                    <a:cubicBezTo>
                      <a:pt x="49" y="756"/>
                      <a:pt x="49" y="756"/>
                      <a:pt x="49" y="756"/>
                    </a:cubicBezTo>
                    <a:cubicBezTo>
                      <a:pt x="49" y="756"/>
                      <a:pt x="60" y="787"/>
                      <a:pt x="60" y="794"/>
                    </a:cubicBezTo>
                    <a:cubicBezTo>
                      <a:pt x="60" y="801"/>
                      <a:pt x="60" y="821"/>
                      <a:pt x="60" y="821"/>
                    </a:cubicBezTo>
                    <a:cubicBezTo>
                      <a:pt x="79" y="837"/>
                      <a:pt x="79" y="837"/>
                      <a:pt x="79" y="837"/>
                    </a:cubicBezTo>
                    <a:cubicBezTo>
                      <a:pt x="80" y="849"/>
                      <a:pt x="80" y="849"/>
                      <a:pt x="80" y="849"/>
                    </a:cubicBezTo>
                    <a:cubicBezTo>
                      <a:pt x="80" y="849"/>
                      <a:pt x="99" y="857"/>
                      <a:pt x="94" y="866"/>
                    </a:cubicBezTo>
                    <a:cubicBezTo>
                      <a:pt x="89" y="875"/>
                      <a:pt x="76" y="880"/>
                      <a:pt x="76" y="880"/>
                    </a:cubicBezTo>
                    <a:cubicBezTo>
                      <a:pt x="83" y="906"/>
                      <a:pt x="83" y="906"/>
                      <a:pt x="83" y="906"/>
                    </a:cubicBezTo>
                    <a:cubicBezTo>
                      <a:pt x="71" y="915"/>
                      <a:pt x="71" y="915"/>
                      <a:pt x="71" y="915"/>
                    </a:cubicBezTo>
                    <a:cubicBezTo>
                      <a:pt x="71" y="915"/>
                      <a:pt x="80" y="920"/>
                      <a:pt x="81" y="927"/>
                    </a:cubicBezTo>
                    <a:cubicBezTo>
                      <a:pt x="82" y="935"/>
                      <a:pt x="78" y="943"/>
                      <a:pt x="78" y="943"/>
                    </a:cubicBezTo>
                    <a:cubicBezTo>
                      <a:pt x="91" y="951"/>
                      <a:pt x="91" y="951"/>
                      <a:pt x="91" y="951"/>
                    </a:cubicBezTo>
                    <a:cubicBezTo>
                      <a:pt x="91" y="951"/>
                      <a:pt x="86" y="968"/>
                      <a:pt x="87" y="974"/>
                    </a:cubicBezTo>
                    <a:cubicBezTo>
                      <a:pt x="88" y="979"/>
                      <a:pt x="95" y="990"/>
                      <a:pt x="95" y="990"/>
                    </a:cubicBezTo>
                    <a:cubicBezTo>
                      <a:pt x="95" y="990"/>
                      <a:pt x="95" y="1008"/>
                      <a:pt x="98" y="1014"/>
                    </a:cubicBezTo>
                    <a:cubicBezTo>
                      <a:pt x="101" y="1020"/>
                      <a:pt x="128" y="1040"/>
                      <a:pt x="123" y="1039"/>
                    </a:cubicBezTo>
                    <a:cubicBezTo>
                      <a:pt x="119" y="1038"/>
                      <a:pt x="108" y="1047"/>
                      <a:pt x="108" y="1047"/>
                    </a:cubicBezTo>
                    <a:cubicBezTo>
                      <a:pt x="108" y="1047"/>
                      <a:pt x="113" y="1075"/>
                      <a:pt x="116" y="1083"/>
                    </a:cubicBezTo>
                    <a:cubicBezTo>
                      <a:pt x="119" y="1091"/>
                      <a:pt x="127" y="1095"/>
                      <a:pt x="127" y="1095"/>
                    </a:cubicBezTo>
                    <a:cubicBezTo>
                      <a:pt x="137" y="1099"/>
                      <a:pt x="137" y="1099"/>
                      <a:pt x="137" y="1099"/>
                    </a:cubicBezTo>
                    <a:cubicBezTo>
                      <a:pt x="133" y="1117"/>
                      <a:pt x="133" y="1117"/>
                      <a:pt x="133" y="1117"/>
                    </a:cubicBezTo>
                    <a:cubicBezTo>
                      <a:pt x="133" y="1117"/>
                      <a:pt x="148" y="1118"/>
                      <a:pt x="149" y="1128"/>
                    </a:cubicBezTo>
                    <a:cubicBezTo>
                      <a:pt x="150" y="1139"/>
                      <a:pt x="151" y="1155"/>
                      <a:pt x="151" y="1155"/>
                    </a:cubicBezTo>
                    <a:cubicBezTo>
                      <a:pt x="151" y="1155"/>
                      <a:pt x="156" y="1165"/>
                      <a:pt x="163" y="1165"/>
                    </a:cubicBezTo>
                    <a:cubicBezTo>
                      <a:pt x="169" y="1165"/>
                      <a:pt x="188" y="1160"/>
                      <a:pt x="186" y="1170"/>
                    </a:cubicBezTo>
                    <a:cubicBezTo>
                      <a:pt x="184" y="1181"/>
                      <a:pt x="153" y="1178"/>
                      <a:pt x="154" y="1181"/>
                    </a:cubicBezTo>
                    <a:cubicBezTo>
                      <a:pt x="155" y="1184"/>
                      <a:pt x="177" y="1191"/>
                      <a:pt x="177" y="1191"/>
                    </a:cubicBezTo>
                    <a:cubicBezTo>
                      <a:pt x="177" y="1191"/>
                      <a:pt x="199" y="1199"/>
                      <a:pt x="196" y="1207"/>
                    </a:cubicBezTo>
                    <a:cubicBezTo>
                      <a:pt x="193" y="1215"/>
                      <a:pt x="181" y="1225"/>
                      <a:pt x="181" y="1225"/>
                    </a:cubicBezTo>
                    <a:cubicBezTo>
                      <a:pt x="196" y="1237"/>
                      <a:pt x="196" y="1237"/>
                      <a:pt x="196" y="1237"/>
                    </a:cubicBezTo>
                    <a:cubicBezTo>
                      <a:pt x="193" y="1251"/>
                      <a:pt x="193" y="1251"/>
                      <a:pt x="193" y="1251"/>
                    </a:cubicBezTo>
                    <a:cubicBezTo>
                      <a:pt x="208" y="1268"/>
                      <a:pt x="208" y="1268"/>
                      <a:pt x="208" y="1268"/>
                    </a:cubicBezTo>
                    <a:cubicBezTo>
                      <a:pt x="205" y="1290"/>
                      <a:pt x="205" y="1290"/>
                      <a:pt x="205" y="1290"/>
                    </a:cubicBezTo>
                    <a:cubicBezTo>
                      <a:pt x="214" y="1306"/>
                      <a:pt x="214" y="1306"/>
                      <a:pt x="214" y="1306"/>
                    </a:cubicBezTo>
                    <a:cubicBezTo>
                      <a:pt x="204" y="1310"/>
                      <a:pt x="204" y="1310"/>
                      <a:pt x="204" y="1310"/>
                    </a:cubicBezTo>
                    <a:cubicBezTo>
                      <a:pt x="201" y="1338"/>
                      <a:pt x="201" y="1338"/>
                      <a:pt x="201" y="1338"/>
                    </a:cubicBezTo>
                    <a:cubicBezTo>
                      <a:pt x="201" y="1338"/>
                      <a:pt x="219" y="1349"/>
                      <a:pt x="220" y="1352"/>
                    </a:cubicBezTo>
                    <a:cubicBezTo>
                      <a:pt x="221" y="1355"/>
                      <a:pt x="206" y="1363"/>
                      <a:pt x="206" y="1363"/>
                    </a:cubicBezTo>
                    <a:cubicBezTo>
                      <a:pt x="206" y="1363"/>
                      <a:pt x="225" y="1378"/>
                      <a:pt x="222" y="1383"/>
                    </a:cubicBezTo>
                    <a:cubicBezTo>
                      <a:pt x="219" y="1387"/>
                      <a:pt x="205" y="1392"/>
                      <a:pt x="205" y="1392"/>
                    </a:cubicBezTo>
                    <a:cubicBezTo>
                      <a:pt x="204" y="1405"/>
                      <a:pt x="204" y="1405"/>
                      <a:pt x="204" y="1405"/>
                    </a:cubicBezTo>
                    <a:cubicBezTo>
                      <a:pt x="197" y="1409"/>
                      <a:pt x="197" y="1409"/>
                      <a:pt x="197" y="1409"/>
                    </a:cubicBezTo>
                    <a:cubicBezTo>
                      <a:pt x="197" y="1409"/>
                      <a:pt x="199" y="1424"/>
                      <a:pt x="204" y="1429"/>
                    </a:cubicBezTo>
                    <a:cubicBezTo>
                      <a:pt x="209" y="1434"/>
                      <a:pt x="207" y="1453"/>
                      <a:pt x="207" y="1453"/>
                    </a:cubicBezTo>
                    <a:cubicBezTo>
                      <a:pt x="226" y="1457"/>
                      <a:pt x="226" y="1457"/>
                      <a:pt x="226" y="1457"/>
                    </a:cubicBezTo>
                    <a:cubicBezTo>
                      <a:pt x="226" y="1457"/>
                      <a:pt x="230" y="1481"/>
                      <a:pt x="239" y="1481"/>
                    </a:cubicBezTo>
                    <a:cubicBezTo>
                      <a:pt x="249" y="1481"/>
                      <a:pt x="255" y="1463"/>
                      <a:pt x="269" y="1476"/>
                    </a:cubicBezTo>
                    <a:cubicBezTo>
                      <a:pt x="283" y="1488"/>
                      <a:pt x="278" y="1500"/>
                      <a:pt x="278" y="1500"/>
                    </a:cubicBezTo>
                    <a:cubicBezTo>
                      <a:pt x="291" y="1515"/>
                      <a:pt x="291" y="1515"/>
                      <a:pt x="291" y="1515"/>
                    </a:cubicBezTo>
                    <a:cubicBezTo>
                      <a:pt x="298" y="1526"/>
                      <a:pt x="298" y="1526"/>
                      <a:pt x="298" y="1526"/>
                    </a:cubicBezTo>
                    <a:cubicBezTo>
                      <a:pt x="314" y="1542"/>
                      <a:pt x="316" y="1542"/>
                      <a:pt x="316" y="1542"/>
                    </a:cubicBezTo>
                    <a:cubicBezTo>
                      <a:pt x="331" y="1541"/>
                      <a:pt x="331" y="1541"/>
                      <a:pt x="331" y="1541"/>
                    </a:cubicBezTo>
                    <a:cubicBezTo>
                      <a:pt x="331" y="1541"/>
                      <a:pt x="361" y="1540"/>
                      <a:pt x="376" y="1542"/>
                    </a:cubicBezTo>
                    <a:cubicBezTo>
                      <a:pt x="392" y="1544"/>
                      <a:pt x="407" y="1544"/>
                      <a:pt x="407" y="1544"/>
                    </a:cubicBezTo>
                    <a:cubicBezTo>
                      <a:pt x="432" y="1542"/>
                      <a:pt x="451" y="1555"/>
                      <a:pt x="451" y="1555"/>
                    </a:cubicBezTo>
                    <a:cubicBezTo>
                      <a:pt x="425" y="1520"/>
                      <a:pt x="432" y="1525"/>
                      <a:pt x="432" y="1525"/>
                    </a:cubicBezTo>
                    <a:cubicBezTo>
                      <a:pt x="419" y="1526"/>
                      <a:pt x="419" y="1526"/>
                      <a:pt x="419" y="1526"/>
                    </a:cubicBezTo>
                    <a:cubicBezTo>
                      <a:pt x="422" y="1516"/>
                      <a:pt x="422" y="1516"/>
                      <a:pt x="422" y="1516"/>
                    </a:cubicBezTo>
                    <a:cubicBezTo>
                      <a:pt x="399" y="1500"/>
                      <a:pt x="399" y="1500"/>
                      <a:pt x="399" y="1500"/>
                    </a:cubicBezTo>
                    <a:cubicBezTo>
                      <a:pt x="400" y="1477"/>
                      <a:pt x="400" y="1477"/>
                      <a:pt x="400" y="1477"/>
                    </a:cubicBezTo>
                    <a:cubicBezTo>
                      <a:pt x="391" y="1473"/>
                      <a:pt x="391" y="1473"/>
                      <a:pt x="391" y="1473"/>
                    </a:cubicBezTo>
                    <a:cubicBezTo>
                      <a:pt x="396" y="1461"/>
                      <a:pt x="396" y="1461"/>
                      <a:pt x="396" y="1461"/>
                    </a:cubicBezTo>
                    <a:cubicBezTo>
                      <a:pt x="396" y="1461"/>
                      <a:pt x="405" y="1461"/>
                      <a:pt x="408" y="1454"/>
                    </a:cubicBezTo>
                    <a:cubicBezTo>
                      <a:pt x="411" y="1446"/>
                      <a:pt x="383" y="1446"/>
                      <a:pt x="383" y="1446"/>
                    </a:cubicBezTo>
                    <a:cubicBezTo>
                      <a:pt x="394" y="1441"/>
                      <a:pt x="394" y="1441"/>
                      <a:pt x="394" y="1441"/>
                    </a:cubicBezTo>
                    <a:cubicBezTo>
                      <a:pt x="390" y="1429"/>
                      <a:pt x="390" y="1429"/>
                      <a:pt x="390" y="1429"/>
                    </a:cubicBezTo>
                    <a:cubicBezTo>
                      <a:pt x="406" y="1445"/>
                      <a:pt x="406" y="1445"/>
                      <a:pt x="406" y="1445"/>
                    </a:cubicBezTo>
                    <a:cubicBezTo>
                      <a:pt x="406" y="1445"/>
                      <a:pt x="419" y="1455"/>
                      <a:pt x="429" y="1443"/>
                    </a:cubicBezTo>
                    <a:cubicBezTo>
                      <a:pt x="438" y="1432"/>
                      <a:pt x="421" y="1407"/>
                      <a:pt x="422" y="1393"/>
                    </a:cubicBezTo>
                    <a:cubicBezTo>
                      <a:pt x="423" y="1381"/>
                      <a:pt x="464" y="1353"/>
                      <a:pt x="467" y="1344"/>
                    </a:cubicBezTo>
                    <a:cubicBezTo>
                      <a:pt x="471" y="1336"/>
                      <a:pt x="447" y="1336"/>
                      <a:pt x="447" y="1336"/>
                    </a:cubicBezTo>
                    <a:cubicBezTo>
                      <a:pt x="462" y="1334"/>
                      <a:pt x="462" y="1334"/>
                      <a:pt x="462" y="1334"/>
                    </a:cubicBezTo>
                    <a:cubicBezTo>
                      <a:pt x="462" y="1334"/>
                      <a:pt x="463" y="1314"/>
                      <a:pt x="456" y="1305"/>
                    </a:cubicBezTo>
                    <a:cubicBezTo>
                      <a:pt x="448" y="1295"/>
                      <a:pt x="436" y="1300"/>
                      <a:pt x="436" y="1300"/>
                    </a:cubicBezTo>
                    <a:cubicBezTo>
                      <a:pt x="425" y="1291"/>
                      <a:pt x="425" y="1291"/>
                      <a:pt x="425" y="1291"/>
                    </a:cubicBezTo>
                    <a:cubicBezTo>
                      <a:pt x="412" y="1291"/>
                      <a:pt x="412" y="1291"/>
                      <a:pt x="412" y="1291"/>
                    </a:cubicBezTo>
                    <a:cubicBezTo>
                      <a:pt x="412" y="1291"/>
                      <a:pt x="374" y="1275"/>
                      <a:pt x="363" y="1249"/>
                    </a:cubicBezTo>
                    <a:cubicBezTo>
                      <a:pt x="350" y="1223"/>
                      <a:pt x="369" y="1218"/>
                      <a:pt x="369" y="1218"/>
                    </a:cubicBezTo>
                    <a:cubicBezTo>
                      <a:pt x="375" y="1202"/>
                      <a:pt x="375" y="1202"/>
                      <a:pt x="375" y="1202"/>
                    </a:cubicBezTo>
                    <a:cubicBezTo>
                      <a:pt x="384" y="1202"/>
                      <a:pt x="384" y="1202"/>
                      <a:pt x="384" y="1202"/>
                    </a:cubicBezTo>
                    <a:cubicBezTo>
                      <a:pt x="389" y="1191"/>
                      <a:pt x="389" y="1191"/>
                      <a:pt x="389" y="1191"/>
                    </a:cubicBezTo>
                    <a:cubicBezTo>
                      <a:pt x="424" y="1190"/>
                      <a:pt x="424" y="1190"/>
                      <a:pt x="424" y="1190"/>
                    </a:cubicBezTo>
                    <a:cubicBezTo>
                      <a:pt x="416" y="1183"/>
                      <a:pt x="416" y="1183"/>
                      <a:pt x="416" y="1183"/>
                    </a:cubicBezTo>
                    <a:cubicBezTo>
                      <a:pt x="415" y="1170"/>
                      <a:pt x="415" y="1170"/>
                      <a:pt x="415" y="1170"/>
                    </a:cubicBezTo>
                    <a:cubicBezTo>
                      <a:pt x="424" y="1169"/>
                      <a:pt x="424" y="1169"/>
                      <a:pt x="424" y="1169"/>
                    </a:cubicBezTo>
                    <a:cubicBezTo>
                      <a:pt x="424" y="1169"/>
                      <a:pt x="429" y="1150"/>
                      <a:pt x="421" y="1144"/>
                    </a:cubicBezTo>
                    <a:cubicBezTo>
                      <a:pt x="413" y="1137"/>
                      <a:pt x="405" y="1121"/>
                      <a:pt x="411" y="1106"/>
                    </a:cubicBezTo>
                    <a:cubicBezTo>
                      <a:pt x="417" y="1092"/>
                      <a:pt x="436" y="1092"/>
                      <a:pt x="436" y="1092"/>
                    </a:cubicBezTo>
                    <a:cubicBezTo>
                      <a:pt x="436" y="1085"/>
                      <a:pt x="436" y="1085"/>
                      <a:pt x="436" y="1085"/>
                    </a:cubicBezTo>
                    <a:cubicBezTo>
                      <a:pt x="436" y="1085"/>
                      <a:pt x="420" y="1085"/>
                      <a:pt x="412" y="1080"/>
                    </a:cubicBezTo>
                    <a:cubicBezTo>
                      <a:pt x="405" y="1076"/>
                      <a:pt x="413" y="1068"/>
                      <a:pt x="421" y="1067"/>
                    </a:cubicBezTo>
                    <a:cubicBezTo>
                      <a:pt x="429" y="1066"/>
                      <a:pt x="442" y="1082"/>
                      <a:pt x="449" y="1082"/>
                    </a:cubicBezTo>
                    <a:cubicBezTo>
                      <a:pt x="456" y="1082"/>
                      <a:pt x="464" y="1078"/>
                      <a:pt x="465" y="1069"/>
                    </a:cubicBezTo>
                    <a:cubicBezTo>
                      <a:pt x="466" y="1059"/>
                      <a:pt x="454" y="1037"/>
                      <a:pt x="441" y="1042"/>
                    </a:cubicBezTo>
                    <a:cubicBezTo>
                      <a:pt x="430" y="1046"/>
                      <a:pt x="448" y="1055"/>
                      <a:pt x="436" y="1061"/>
                    </a:cubicBezTo>
                    <a:cubicBezTo>
                      <a:pt x="424" y="1067"/>
                      <a:pt x="412" y="1050"/>
                      <a:pt x="412" y="1050"/>
                    </a:cubicBezTo>
                    <a:cubicBezTo>
                      <a:pt x="412" y="1050"/>
                      <a:pt x="389" y="1052"/>
                      <a:pt x="387" y="1046"/>
                    </a:cubicBezTo>
                    <a:cubicBezTo>
                      <a:pt x="383" y="1040"/>
                      <a:pt x="387" y="1013"/>
                      <a:pt x="387" y="1010"/>
                    </a:cubicBezTo>
                    <a:cubicBezTo>
                      <a:pt x="387" y="1007"/>
                      <a:pt x="370" y="991"/>
                      <a:pt x="374" y="976"/>
                    </a:cubicBezTo>
                    <a:cubicBezTo>
                      <a:pt x="379" y="963"/>
                      <a:pt x="391" y="978"/>
                      <a:pt x="406" y="982"/>
                    </a:cubicBezTo>
                    <a:cubicBezTo>
                      <a:pt x="420" y="985"/>
                      <a:pt x="436" y="998"/>
                      <a:pt x="445" y="998"/>
                    </a:cubicBezTo>
                    <a:cubicBezTo>
                      <a:pt x="454" y="998"/>
                      <a:pt x="485" y="980"/>
                      <a:pt x="493" y="975"/>
                    </a:cubicBezTo>
                    <a:cubicBezTo>
                      <a:pt x="500" y="969"/>
                      <a:pt x="469" y="952"/>
                      <a:pt x="469" y="952"/>
                    </a:cubicBezTo>
                    <a:cubicBezTo>
                      <a:pt x="468" y="936"/>
                      <a:pt x="468" y="936"/>
                      <a:pt x="468" y="936"/>
                    </a:cubicBezTo>
                    <a:cubicBezTo>
                      <a:pt x="468" y="936"/>
                      <a:pt x="477" y="921"/>
                      <a:pt x="479" y="910"/>
                    </a:cubicBezTo>
                    <a:cubicBezTo>
                      <a:pt x="481" y="901"/>
                      <a:pt x="459" y="901"/>
                      <a:pt x="459" y="901"/>
                    </a:cubicBezTo>
                    <a:cubicBezTo>
                      <a:pt x="457" y="887"/>
                      <a:pt x="457" y="887"/>
                      <a:pt x="457" y="887"/>
                    </a:cubicBezTo>
                    <a:cubicBezTo>
                      <a:pt x="457" y="887"/>
                      <a:pt x="450" y="879"/>
                      <a:pt x="456" y="871"/>
                    </a:cubicBezTo>
                    <a:cubicBezTo>
                      <a:pt x="463" y="863"/>
                      <a:pt x="473" y="897"/>
                      <a:pt x="473" y="897"/>
                    </a:cubicBezTo>
                    <a:cubicBezTo>
                      <a:pt x="480" y="896"/>
                      <a:pt x="480" y="896"/>
                      <a:pt x="480" y="896"/>
                    </a:cubicBezTo>
                    <a:cubicBezTo>
                      <a:pt x="476" y="882"/>
                      <a:pt x="476" y="882"/>
                      <a:pt x="476" y="882"/>
                    </a:cubicBezTo>
                    <a:cubicBezTo>
                      <a:pt x="527" y="889"/>
                      <a:pt x="527" y="889"/>
                      <a:pt x="527" y="889"/>
                    </a:cubicBezTo>
                    <a:cubicBezTo>
                      <a:pt x="530" y="883"/>
                      <a:pt x="530" y="883"/>
                      <a:pt x="530" y="883"/>
                    </a:cubicBezTo>
                    <a:cubicBezTo>
                      <a:pt x="530" y="883"/>
                      <a:pt x="543" y="876"/>
                      <a:pt x="569" y="873"/>
                    </a:cubicBezTo>
                    <a:cubicBezTo>
                      <a:pt x="597" y="870"/>
                      <a:pt x="647" y="846"/>
                      <a:pt x="647" y="846"/>
                    </a:cubicBezTo>
                    <a:cubicBezTo>
                      <a:pt x="644" y="821"/>
                      <a:pt x="644" y="821"/>
                      <a:pt x="644" y="821"/>
                    </a:cubicBezTo>
                    <a:cubicBezTo>
                      <a:pt x="658" y="813"/>
                      <a:pt x="658" y="813"/>
                      <a:pt x="658" y="813"/>
                    </a:cubicBezTo>
                    <a:cubicBezTo>
                      <a:pt x="666" y="782"/>
                      <a:pt x="666" y="782"/>
                      <a:pt x="666" y="782"/>
                    </a:cubicBezTo>
                    <a:cubicBezTo>
                      <a:pt x="659" y="765"/>
                      <a:pt x="659" y="765"/>
                      <a:pt x="659" y="765"/>
                    </a:cubicBezTo>
                    <a:cubicBezTo>
                      <a:pt x="659" y="748"/>
                      <a:pt x="659" y="748"/>
                      <a:pt x="659" y="748"/>
                    </a:cubicBezTo>
                    <a:cubicBezTo>
                      <a:pt x="659" y="748"/>
                      <a:pt x="649" y="739"/>
                      <a:pt x="638" y="735"/>
                    </a:cubicBezTo>
                    <a:cubicBezTo>
                      <a:pt x="633" y="734"/>
                      <a:pt x="626" y="738"/>
                      <a:pt x="621" y="734"/>
                    </a:cubicBezTo>
                    <a:cubicBezTo>
                      <a:pt x="613" y="729"/>
                      <a:pt x="627" y="723"/>
                      <a:pt x="630" y="718"/>
                    </a:cubicBezTo>
                    <a:cubicBezTo>
                      <a:pt x="633" y="711"/>
                      <a:pt x="629" y="706"/>
                      <a:pt x="629" y="698"/>
                    </a:cubicBezTo>
                    <a:cubicBezTo>
                      <a:pt x="629" y="684"/>
                      <a:pt x="597" y="679"/>
                      <a:pt x="575" y="668"/>
                    </a:cubicBezTo>
                    <a:cubicBezTo>
                      <a:pt x="553" y="658"/>
                      <a:pt x="553" y="647"/>
                      <a:pt x="563" y="634"/>
                    </a:cubicBezTo>
                    <a:cubicBezTo>
                      <a:pt x="564" y="633"/>
                      <a:pt x="564" y="632"/>
                      <a:pt x="565" y="632"/>
                    </a:cubicBezTo>
                    <a:cubicBezTo>
                      <a:pt x="545" y="608"/>
                      <a:pt x="545" y="608"/>
                      <a:pt x="545" y="608"/>
                    </a:cubicBezTo>
                    <a:cubicBezTo>
                      <a:pt x="545" y="577"/>
                      <a:pt x="545" y="577"/>
                      <a:pt x="545" y="577"/>
                    </a:cubicBezTo>
                    <a:cubicBezTo>
                      <a:pt x="545" y="577"/>
                      <a:pt x="567" y="576"/>
                      <a:pt x="568" y="571"/>
                    </a:cubicBezTo>
                    <a:cubicBezTo>
                      <a:pt x="569" y="566"/>
                      <a:pt x="550" y="544"/>
                      <a:pt x="550" y="544"/>
                    </a:cubicBezTo>
                    <a:cubicBezTo>
                      <a:pt x="557" y="535"/>
                      <a:pt x="557" y="535"/>
                      <a:pt x="557" y="535"/>
                    </a:cubicBezTo>
                    <a:cubicBezTo>
                      <a:pt x="557" y="535"/>
                      <a:pt x="544" y="523"/>
                      <a:pt x="544" y="515"/>
                    </a:cubicBezTo>
                    <a:cubicBezTo>
                      <a:pt x="543" y="506"/>
                      <a:pt x="561" y="507"/>
                      <a:pt x="561" y="507"/>
                    </a:cubicBezTo>
                    <a:cubicBezTo>
                      <a:pt x="544" y="497"/>
                      <a:pt x="544" y="497"/>
                      <a:pt x="544" y="497"/>
                    </a:cubicBezTo>
                    <a:cubicBezTo>
                      <a:pt x="544" y="471"/>
                      <a:pt x="544" y="471"/>
                      <a:pt x="544" y="471"/>
                    </a:cubicBezTo>
                    <a:cubicBezTo>
                      <a:pt x="562" y="465"/>
                      <a:pt x="562" y="465"/>
                      <a:pt x="562" y="465"/>
                    </a:cubicBezTo>
                    <a:cubicBezTo>
                      <a:pt x="562" y="465"/>
                      <a:pt x="542" y="452"/>
                      <a:pt x="542" y="448"/>
                    </a:cubicBezTo>
                    <a:cubicBezTo>
                      <a:pt x="542" y="445"/>
                      <a:pt x="555" y="434"/>
                      <a:pt x="555" y="434"/>
                    </a:cubicBezTo>
                    <a:cubicBezTo>
                      <a:pt x="555" y="434"/>
                      <a:pt x="559" y="418"/>
                      <a:pt x="559" y="412"/>
                    </a:cubicBezTo>
                    <a:cubicBezTo>
                      <a:pt x="559" y="406"/>
                      <a:pt x="573" y="407"/>
                      <a:pt x="578" y="402"/>
                    </a:cubicBezTo>
                    <a:cubicBezTo>
                      <a:pt x="583" y="397"/>
                      <a:pt x="586" y="383"/>
                      <a:pt x="586" y="380"/>
                    </a:cubicBezTo>
                    <a:cubicBezTo>
                      <a:pt x="586" y="377"/>
                      <a:pt x="594" y="372"/>
                      <a:pt x="599" y="368"/>
                    </a:cubicBezTo>
                    <a:cubicBezTo>
                      <a:pt x="604" y="363"/>
                      <a:pt x="607" y="341"/>
                      <a:pt x="607" y="341"/>
                    </a:cubicBezTo>
                    <a:close/>
                    <a:moveTo>
                      <a:pt x="592" y="654"/>
                    </a:moveTo>
                    <a:cubicBezTo>
                      <a:pt x="597" y="654"/>
                      <a:pt x="597" y="654"/>
                      <a:pt x="597" y="654"/>
                    </a:cubicBezTo>
                    <a:cubicBezTo>
                      <a:pt x="590" y="650"/>
                      <a:pt x="590" y="650"/>
                      <a:pt x="590" y="650"/>
                    </a:cubicBezTo>
                    <a:cubicBezTo>
                      <a:pt x="590" y="650"/>
                      <a:pt x="590" y="650"/>
                      <a:pt x="590" y="650"/>
                    </a:cubicBezTo>
                    <a:cubicBezTo>
                      <a:pt x="591" y="652"/>
                      <a:pt x="592" y="654"/>
                      <a:pt x="592" y="654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9" name="Argentina">
                <a:extLst>
                  <a:ext uri="{FF2B5EF4-FFF2-40B4-BE49-F238E27FC236}">
                    <a16:creationId xmlns:a16="http://schemas.microsoft.com/office/drawing/2014/main" id="{168F20CB-EC6C-4537-9B17-201182C333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72612" y="6549836"/>
                <a:ext cx="127709" cy="85484"/>
              </a:xfrm>
              <a:custGeom>
                <a:avLst/>
                <a:gdLst>
                  <a:gd name="T0" fmla="*/ 88 w 178"/>
                  <a:gd name="T1" fmla="*/ 68 h 118"/>
                  <a:gd name="T2" fmla="*/ 38 w 178"/>
                  <a:gd name="T3" fmla="*/ 31 h 118"/>
                  <a:gd name="T4" fmla="*/ 16 w 178"/>
                  <a:gd name="T5" fmla="*/ 31 h 118"/>
                  <a:gd name="T6" fmla="*/ 20 w 178"/>
                  <a:gd name="T7" fmla="*/ 20 h 118"/>
                  <a:gd name="T8" fmla="*/ 0 w 178"/>
                  <a:gd name="T9" fmla="*/ 0 h 118"/>
                  <a:gd name="T10" fmla="*/ 0 w 178"/>
                  <a:gd name="T11" fmla="*/ 76 h 118"/>
                  <a:gd name="T12" fmla="*/ 28 w 178"/>
                  <a:gd name="T13" fmla="*/ 86 h 118"/>
                  <a:gd name="T14" fmla="*/ 19 w 178"/>
                  <a:gd name="T15" fmla="*/ 99 h 118"/>
                  <a:gd name="T16" fmla="*/ 6 w 178"/>
                  <a:gd name="T17" fmla="*/ 87 h 118"/>
                  <a:gd name="T18" fmla="*/ 0 w 178"/>
                  <a:gd name="T19" fmla="*/ 88 h 118"/>
                  <a:gd name="T20" fmla="*/ 0 w 178"/>
                  <a:gd name="T21" fmla="*/ 103 h 118"/>
                  <a:gd name="T22" fmla="*/ 9 w 178"/>
                  <a:gd name="T23" fmla="*/ 103 h 118"/>
                  <a:gd name="T24" fmla="*/ 34 w 178"/>
                  <a:gd name="T25" fmla="*/ 108 h 118"/>
                  <a:gd name="T26" fmla="*/ 100 w 178"/>
                  <a:gd name="T27" fmla="*/ 106 h 118"/>
                  <a:gd name="T28" fmla="*/ 134 w 178"/>
                  <a:gd name="T29" fmla="*/ 118 h 118"/>
                  <a:gd name="T30" fmla="*/ 154 w 178"/>
                  <a:gd name="T31" fmla="*/ 108 h 118"/>
                  <a:gd name="T32" fmla="*/ 166 w 178"/>
                  <a:gd name="T33" fmla="*/ 111 h 118"/>
                  <a:gd name="T34" fmla="*/ 177 w 178"/>
                  <a:gd name="T35" fmla="*/ 111 h 118"/>
                  <a:gd name="T36" fmla="*/ 178 w 178"/>
                  <a:gd name="T37" fmla="*/ 95 h 118"/>
                  <a:gd name="T38" fmla="*/ 88 w 178"/>
                  <a:gd name="T39" fmla="*/ 6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8" h="118">
                    <a:moveTo>
                      <a:pt x="88" y="68"/>
                    </a:moveTo>
                    <a:cubicBezTo>
                      <a:pt x="38" y="43"/>
                      <a:pt x="38" y="31"/>
                      <a:pt x="38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9" y="10"/>
                      <a:pt x="3" y="4"/>
                      <a:pt x="0" y="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14" y="81"/>
                      <a:pt x="28" y="86"/>
                      <a:pt x="28" y="86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9"/>
                      <a:pt x="16" y="87"/>
                      <a:pt x="6" y="87"/>
                    </a:cubicBezTo>
                    <a:cubicBezTo>
                      <a:pt x="4" y="87"/>
                      <a:pt x="2" y="87"/>
                      <a:pt x="0" y="88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6" y="103"/>
                      <a:pt x="9" y="103"/>
                      <a:pt x="9" y="103"/>
                    </a:cubicBezTo>
                    <a:cubicBezTo>
                      <a:pt x="9" y="103"/>
                      <a:pt x="25" y="109"/>
                      <a:pt x="34" y="108"/>
                    </a:cubicBezTo>
                    <a:cubicBezTo>
                      <a:pt x="44" y="106"/>
                      <a:pt x="87" y="106"/>
                      <a:pt x="100" y="106"/>
                    </a:cubicBezTo>
                    <a:cubicBezTo>
                      <a:pt x="115" y="106"/>
                      <a:pt x="134" y="118"/>
                      <a:pt x="134" y="118"/>
                    </a:cubicBezTo>
                    <a:cubicBezTo>
                      <a:pt x="154" y="108"/>
                      <a:pt x="154" y="108"/>
                      <a:pt x="154" y="108"/>
                    </a:cubicBezTo>
                    <a:cubicBezTo>
                      <a:pt x="166" y="111"/>
                      <a:pt x="166" y="111"/>
                      <a:pt x="166" y="111"/>
                    </a:cubicBezTo>
                    <a:cubicBezTo>
                      <a:pt x="177" y="111"/>
                      <a:pt x="177" y="111"/>
                      <a:pt x="177" y="111"/>
                    </a:cubicBezTo>
                    <a:cubicBezTo>
                      <a:pt x="178" y="95"/>
                      <a:pt x="178" y="95"/>
                      <a:pt x="178" y="95"/>
                    </a:cubicBezTo>
                    <a:cubicBezTo>
                      <a:pt x="178" y="95"/>
                      <a:pt x="138" y="93"/>
                      <a:pt x="88" y="68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grpSp>
          <p:nvGrpSpPr>
            <p:cNvPr id="59" name="Chile">
              <a:extLst>
                <a:ext uri="{FF2B5EF4-FFF2-40B4-BE49-F238E27FC236}">
                  <a16:creationId xmlns:a16="http://schemas.microsoft.com/office/drawing/2014/main" id="{F533A831-CC2A-4C31-8EAA-FB6C17B2FC2F}"/>
                </a:ext>
              </a:extLst>
            </p:cNvPr>
            <p:cNvGrpSpPr/>
            <p:nvPr/>
          </p:nvGrpSpPr>
          <p:grpSpPr bwMode="gray">
            <a:xfrm>
              <a:off x="8591107" y="3802691"/>
              <a:ext cx="812652" cy="2144675"/>
              <a:chOff x="6967537" y="5261618"/>
              <a:chExt cx="526797" cy="1391594"/>
            </a:xfrm>
          </p:grpSpPr>
          <p:sp>
            <p:nvSpPr>
              <p:cNvPr id="63" name="Chile">
                <a:extLst>
                  <a:ext uri="{FF2B5EF4-FFF2-40B4-BE49-F238E27FC236}">
                    <a16:creationId xmlns:a16="http://schemas.microsoft.com/office/drawing/2014/main" id="{62331224-FDC3-441E-A406-98B4A4848F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22499" y="6629356"/>
                <a:ext cx="37913" cy="13917"/>
              </a:xfrm>
              <a:custGeom>
                <a:avLst/>
                <a:gdLst>
                  <a:gd name="T0" fmla="*/ 0 w 52"/>
                  <a:gd name="T1" fmla="*/ 5 h 18"/>
                  <a:gd name="T2" fmla="*/ 17 w 52"/>
                  <a:gd name="T3" fmla="*/ 15 h 18"/>
                  <a:gd name="T4" fmla="*/ 52 w 52"/>
                  <a:gd name="T5" fmla="*/ 18 h 18"/>
                  <a:gd name="T6" fmla="*/ 33 w 52"/>
                  <a:gd name="T7" fmla="*/ 0 h 18"/>
                  <a:gd name="T8" fmla="*/ 0 w 52"/>
                  <a:gd name="T9" fmla="*/ 5 h 18"/>
                  <a:gd name="T10" fmla="*/ 0 w 52"/>
                  <a:gd name="T11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18">
                    <a:moveTo>
                      <a:pt x="0" y="5"/>
                    </a:moveTo>
                    <a:cubicBezTo>
                      <a:pt x="17" y="15"/>
                      <a:pt x="17" y="15"/>
                      <a:pt x="17" y="15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4" name="Chile">
                <a:extLst>
                  <a:ext uri="{FF2B5EF4-FFF2-40B4-BE49-F238E27FC236}">
                    <a16:creationId xmlns:a16="http://schemas.microsoft.com/office/drawing/2014/main" id="{9F732AE4-5356-4DB4-8BDA-3DEF9C56C7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76603" y="6629356"/>
                <a:ext cx="65849" cy="23856"/>
              </a:xfrm>
              <a:custGeom>
                <a:avLst/>
                <a:gdLst>
                  <a:gd name="T0" fmla="*/ 44 w 90"/>
                  <a:gd name="T1" fmla="*/ 9 h 33"/>
                  <a:gd name="T2" fmla="*/ 49 w 90"/>
                  <a:gd name="T3" fmla="*/ 3 h 33"/>
                  <a:gd name="T4" fmla="*/ 23 w 90"/>
                  <a:gd name="T5" fmla="*/ 0 h 33"/>
                  <a:gd name="T6" fmla="*/ 0 w 90"/>
                  <a:gd name="T7" fmla="*/ 0 h 33"/>
                  <a:gd name="T8" fmla="*/ 9 w 90"/>
                  <a:gd name="T9" fmla="*/ 23 h 33"/>
                  <a:gd name="T10" fmla="*/ 31 w 90"/>
                  <a:gd name="T11" fmla="*/ 25 h 33"/>
                  <a:gd name="T12" fmla="*/ 25 w 90"/>
                  <a:gd name="T13" fmla="*/ 16 h 33"/>
                  <a:gd name="T14" fmla="*/ 31 w 90"/>
                  <a:gd name="T15" fmla="*/ 12 h 33"/>
                  <a:gd name="T16" fmla="*/ 38 w 90"/>
                  <a:gd name="T17" fmla="*/ 22 h 33"/>
                  <a:gd name="T18" fmla="*/ 68 w 90"/>
                  <a:gd name="T19" fmla="*/ 22 h 33"/>
                  <a:gd name="T20" fmla="*/ 77 w 90"/>
                  <a:gd name="T21" fmla="*/ 33 h 33"/>
                  <a:gd name="T22" fmla="*/ 90 w 90"/>
                  <a:gd name="T23" fmla="*/ 33 h 33"/>
                  <a:gd name="T24" fmla="*/ 70 w 90"/>
                  <a:gd name="T25" fmla="*/ 13 h 33"/>
                  <a:gd name="T26" fmla="*/ 44 w 90"/>
                  <a:gd name="T27" fmla="*/ 9 h 33"/>
                  <a:gd name="T28" fmla="*/ 44 w 90"/>
                  <a:gd name="T2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0" h="33">
                    <a:moveTo>
                      <a:pt x="44" y="9"/>
                    </a:moveTo>
                    <a:cubicBezTo>
                      <a:pt x="49" y="3"/>
                      <a:pt x="49" y="3"/>
                      <a:pt x="49" y="3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23"/>
                      <a:pt x="9" y="23"/>
                      <a:pt x="9" y="23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68" y="22"/>
                      <a:pt x="68" y="22"/>
                      <a:pt x="68" y="22"/>
                    </a:cubicBezTo>
                    <a:cubicBezTo>
                      <a:pt x="77" y="33"/>
                      <a:pt x="77" y="33"/>
                      <a:pt x="77" y="33"/>
                    </a:cubicBezTo>
                    <a:cubicBezTo>
                      <a:pt x="90" y="33"/>
                      <a:pt x="90" y="33"/>
                      <a:pt x="90" y="33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44" y="9"/>
                      <a:pt x="44" y="9"/>
                      <a:pt x="44" y="9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5" name="Chile">
                <a:extLst>
                  <a:ext uri="{FF2B5EF4-FFF2-40B4-BE49-F238E27FC236}">
                    <a16:creationId xmlns:a16="http://schemas.microsoft.com/office/drawing/2014/main" id="{297770DC-1EA8-4645-843E-0F821E5ED2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10754" y="6611465"/>
                <a:ext cx="53877" cy="29820"/>
              </a:xfrm>
              <a:custGeom>
                <a:avLst/>
                <a:gdLst>
                  <a:gd name="T0" fmla="*/ 41 w 77"/>
                  <a:gd name="T1" fmla="*/ 5 h 40"/>
                  <a:gd name="T2" fmla="*/ 0 w 77"/>
                  <a:gd name="T3" fmla="*/ 0 h 40"/>
                  <a:gd name="T4" fmla="*/ 5 w 77"/>
                  <a:gd name="T5" fmla="*/ 12 h 40"/>
                  <a:gd name="T6" fmla="*/ 31 w 77"/>
                  <a:gd name="T7" fmla="*/ 11 h 40"/>
                  <a:gd name="T8" fmla="*/ 41 w 77"/>
                  <a:gd name="T9" fmla="*/ 24 h 40"/>
                  <a:gd name="T10" fmla="*/ 77 w 77"/>
                  <a:gd name="T11" fmla="*/ 40 h 40"/>
                  <a:gd name="T12" fmla="*/ 55 w 77"/>
                  <a:gd name="T13" fmla="*/ 21 h 40"/>
                  <a:gd name="T14" fmla="*/ 41 w 77"/>
                  <a:gd name="T15" fmla="*/ 5 h 40"/>
                  <a:gd name="T16" fmla="*/ 41 w 77"/>
                  <a:gd name="T17" fmla="*/ 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40">
                    <a:moveTo>
                      <a:pt x="41" y="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77" y="40"/>
                      <a:pt x="77" y="40"/>
                      <a:pt x="77" y="40"/>
                    </a:cubicBezTo>
                    <a:cubicBezTo>
                      <a:pt x="55" y="21"/>
                      <a:pt x="55" y="21"/>
                      <a:pt x="55" y="21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1" y="5"/>
                      <a:pt x="41" y="5"/>
                      <a:pt x="41" y="5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6" name="Chile">
                <a:extLst>
                  <a:ext uri="{FF2B5EF4-FFF2-40B4-BE49-F238E27FC236}">
                    <a16:creationId xmlns:a16="http://schemas.microsoft.com/office/drawing/2014/main" id="{DCDBB70A-260C-4DF7-B112-1E7274BF44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0709" y="6585620"/>
                <a:ext cx="13968" cy="21868"/>
              </a:xfrm>
              <a:custGeom>
                <a:avLst/>
                <a:gdLst>
                  <a:gd name="T0" fmla="*/ 8 w 19"/>
                  <a:gd name="T1" fmla="*/ 0 h 30"/>
                  <a:gd name="T2" fmla="*/ 0 w 19"/>
                  <a:gd name="T3" fmla="*/ 11 h 30"/>
                  <a:gd name="T4" fmla="*/ 4 w 19"/>
                  <a:gd name="T5" fmla="*/ 30 h 30"/>
                  <a:gd name="T6" fmla="*/ 19 w 19"/>
                  <a:gd name="T7" fmla="*/ 24 h 30"/>
                  <a:gd name="T8" fmla="*/ 8 w 19"/>
                  <a:gd name="T9" fmla="*/ 0 h 30"/>
                  <a:gd name="T10" fmla="*/ 8 w 19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30">
                    <a:moveTo>
                      <a:pt x="8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7" name="Chile">
                <a:extLst>
                  <a:ext uri="{FF2B5EF4-FFF2-40B4-BE49-F238E27FC236}">
                    <a16:creationId xmlns:a16="http://schemas.microsoft.com/office/drawing/2014/main" id="{74BEBF3C-06AF-475D-BF83-7159B77E6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92795" y="6593572"/>
                <a:ext cx="31927" cy="15904"/>
              </a:xfrm>
              <a:custGeom>
                <a:avLst/>
                <a:gdLst>
                  <a:gd name="T0" fmla="*/ 43 w 43"/>
                  <a:gd name="T1" fmla="*/ 19 h 23"/>
                  <a:gd name="T2" fmla="*/ 41 w 43"/>
                  <a:gd name="T3" fmla="*/ 7 h 23"/>
                  <a:gd name="T4" fmla="*/ 8 w 43"/>
                  <a:gd name="T5" fmla="*/ 0 h 23"/>
                  <a:gd name="T6" fmla="*/ 0 w 43"/>
                  <a:gd name="T7" fmla="*/ 10 h 23"/>
                  <a:gd name="T8" fmla="*/ 1 w 43"/>
                  <a:gd name="T9" fmla="*/ 23 h 23"/>
                  <a:gd name="T10" fmla="*/ 23 w 43"/>
                  <a:gd name="T11" fmla="*/ 14 h 23"/>
                  <a:gd name="T12" fmla="*/ 43 w 43"/>
                  <a:gd name="T13" fmla="*/ 19 h 23"/>
                  <a:gd name="T14" fmla="*/ 43 w 43"/>
                  <a:gd name="T15" fmla="*/ 1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3">
                    <a:moveTo>
                      <a:pt x="43" y="19"/>
                    </a:moveTo>
                    <a:cubicBezTo>
                      <a:pt x="41" y="7"/>
                      <a:pt x="41" y="7"/>
                      <a:pt x="41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43" y="19"/>
                      <a:pt x="43" y="19"/>
                      <a:pt x="43" y="19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8" name="Chile">
                <a:extLst>
                  <a:ext uri="{FF2B5EF4-FFF2-40B4-BE49-F238E27FC236}">
                    <a16:creationId xmlns:a16="http://schemas.microsoft.com/office/drawing/2014/main" id="{63E60FE6-A5C4-4E85-88A1-51924A918F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24949" y="6525981"/>
                <a:ext cx="33922" cy="31808"/>
              </a:xfrm>
              <a:custGeom>
                <a:avLst/>
                <a:gdLst>
                  <a:gd name="T0" fmla="*/ 35 w 47"/>
                  <a:gd name="T1" fmla="*/ 12 h 46"/>
                  <a:gd name="T2" fmla="*/ 7 w 47"/>
                  <a:gd name="T3" fmla="*/ 11 h 46"/>
                  <a:gd name="T4" fmla="*/ 4 w 47"/>
                  <a:gd name="T5" fmla="*/ 37 h 46"/>
                  <a:gd name="T6" fmla="*/ 25 w 47"/>
                  <a:gd name="T7" fmla="*/ 30 h 46"/>
                  <a:gd name="T8" fmla="*/ 27 w 47"/>
                  <a:gd name="T9" fmla="*/ 46 h 46"/>
                  <a:gd name="T10" fmla="*/ 47 w 47"/>
                  <a:gd name="T11" fmla="*/ 36 h 46"/>
                  <a:gd name="T12" fmla="*/ 37 w 47"/>
                  <a:gd name="T13" fmla="*/ 26 h 46"/>
                  <a:gd name="T14" fmla="*/ 41 w 47"/>
                  <a:gd name="T15" fmla="*/ 15 h 46"/>
                  <a:gd name="T16" fmla="*/ 35 w 47"/>
                  <a:gd name="T17" fmla="*/ 12 h 46"/>
                  <a:gd name="T18" fmla="*/ 35 w 47"/>
                  <a:gd name="T19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6">
                    <a:moveTo>
                      <a:pt x="35" y="12"/>
                    </a:moveTo>
                    <a:cubicBezTo>
                      <a:pt x="35" y="12"/>
                      <a:pt x="10" y="0"/>
                      <a:pt x="7" y="11"/>
                    </a:cubicBezTo>
                    <a:cubicBezTo>
                      <a:pt x="4" y="23"/>
                      <a:pt x="0" y="37"/>
                      <a:pt x="4" y="37"/>
                    </a:cubicBezTo>
                    <a:cubicBezTo>
                      <a:pt x="9" y="37"/>
                      <a:pt x="25" y="30"/>
                      <a:pt x="25" y="30"/>
                    </a:cubicBezTo>
                    <a:cubicBezTo>
                      <a:pt x="27" y="46"/>
                      <a:pt x="27" y="46"/>
                      <a:pt x="27" y="46"/>
                    </a:cubicBezTo>
                    <a:cubicBezTo>
                      <a:pt x="47" y="36"/>
                      <a:pt x="47" y="36"/>
                      <a:pt x="47" y="36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5" y="12"/>
                      <a:pt x="35" y="12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9" name="Chile">
                <a:extLst>
                  <a:ext uri="{FF2B5EF4-FFF2-40B4-BE49-F238E27FC236}">
                    <a16:creationId xmlns:a16="http://schemas.microsoft.com/office/drawing/2014/main" id="{0576176E-ACEB-4180-B4A5-ACF81E055E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06991" y="6551825"/>
                <a:ext cx="39909" cy="19880"/>
              </a:xfrm>
              <a:custGeom>
                <a:avLst/>
                <a:gdLst>
                  <a:gd name="T0" fmla="*/ 22 w 57"/>
                  <a:gd name="T1" fmla="*/ 13 h 29"/>
                  <a:gd name="T2" fmla="*/ 0 w 57"/>
                  <a:gd name="T3" fmla="*/ 0 h 29"/>
                  <a:gd name="T4" fmla="*/ 17 w 57"/>
                  <a:gd name="T5" fmla="*/ 18 h 29"/>
                  <a:gd name="T6" fmla="*/ 46 w 57"/>
                  <a:gd name="T7" fmla="*/ 22 h 29"/>
                  <a:gd name="T8" fmla="*/ 57 w 57"/>
                  <a:gd name="T9" fmla="*/ 29 h 29"/>
                  <a:gd name="T10" fmla="*/ 46 w 57"/>
                  <a:gd name="T11" fmla="*/ 15 h 29"/>
                  <a:gd name="T12" fmla="*/ 22 w 57"/>
                  <a:gd name="T13" fmla="*/ 13 h 29"/>
                  <a:gd name="T14" fmla="*/ 22 w 57"/>
                  <a:gd name="T15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29">
                    <a:moveTo>
                      <a:pt x="22" y="1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46" y="15"/>
                      <a:pt x="46" y="15"/>
                      <a:pt x="46" y="15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3"/>
                      <a:pt x="22" y="13"/>
                      <a:pt x="22" y="13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0" name="Chile">
                <a:extLst>
                  <a:ext uri="{FF2B5EF4-FFF2-40B4-BE49-F238E27FC236}">
                    <a16:creationId xmlns:a16="http://schemas.microsoft.com/office/drawing/2014/main" id="{365419B9-1A39-4F62-A728-A61DD85C72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01004" y="6516041"/>
                <a:ext cx="19955" cy="25844"/>
              </a:xfrm>
              <a:custGeom>
                <a:avLst/>
                <a:gdLst>
                  <a:gd name="T0" fmla="*/ 30 w 30"/>
                  <a:gd name="T1" fmla="*/ 13 h 37"/>
                  <a:gd name="T2" fmla="*/ 18 w 30"/>
                  <a:gd name="T3" fmla="*/ 0 h 37"/>
                  <a:gd name="T4" fmla="*/ 14 w 30"/>
                  <a:gd name="T5" fmla="*/ 21 h 37"/>
                  <a:gd name="T6" fmla="*/ 0 w 30"/>
                  <a:gd name="T7" fmla="*/ 25 h 37"/>
                  <a:gd name="T8" fmla="*/ 28 w 30"/>
                  <a:gd name="T9" fmla="*/ 37 h 37"/>
                  <a:gd name="T10" fmla="*/ 30 w 30"/>
                  <a:gd name="T11" fmla="*/ 13 h 37"/>
                  <a:gd name="T12" fmla="*/ 30 w 30"/>
                  <a:gd name="T13" fmla="*/ 1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37">
                    <a:moveTo>
                      <a:pt x="30" y="13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3"/>
                      <a:pt x="30" y="13"/>
                      <a:pt x="30" y="13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1" name="Chile">
                <a:extLst>
                  <a:ext uri="{FF2B5EF4-FFF2-40B4-BE49-F238E27FC236}">
                    <a16:creationId xmlns:a16="http://schemas.microsoft.com/office/drawing/2014/main" id="{DB4DCC73-3E8C-4A9E-AF93-CADB0EC64E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73068" y="6514053"/>
                <a:ext cx="19955" cy="19880"/>
              </a:xfrm>
              <a:custGeom>
                <a:avLst/>
                <a:gdLst>
                  <a:gd name="T0" fmla="*/ 0 w 29"/>
                  <a:gd name="T1" fmla="*/ 9 h 29"/>
                  <a:gd name="T2" fmla="*/ 22 w 29"/>
                  <a:gd name="T3" fmla="*/ 29 h 29"/>
                  <a:gd name="T4" fmla="*/ 29 w 29"/>
                  <a:gd name="T5" fmla="*/ 22 h 29"/>
                  <a:gd name="T6" fmla="*/ 10 w 29"/>
                  <a:gd name="T7" fmla="*/ 0 h 29"/>
                  <a:gd name="T8" fmla="*/ 0 w 29"/>
                  <a:gd name="T9" fmla="*/ 9 h 29"/>
                  <a:gd name="T10" fmla="*/ 0 w 29"/>
                  <a:gd name="T11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9">
                    <a:moveTo>
                      <a:pt x="0" y="9"/>
                    </a:moveTo>
                    <a:cubicBezTo>
                      <a:pt x="22" y="29"/>
                      <a:pt x="22" y="29"/>
                      <a:pt x="22" y="29"/>
                    </a:cubicBezTo>
                    <a:cubicBezTo>
                      <a:pt x="29" y="22"/>
                      <a:pt x="29" y="22"/>
                      <a:pt x="29" y="2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2" name="Chile">
                <a:extLst>
                  <a:ext uri="{FF2B5EF4-FFF2-40B4-BE49-F238E27FC236}">
                    <a16:creationId xmlns:a16="http://schemas.microsoft.com/office/drawing/2014/main" id="{6E53E3C8-AA20-40B8-B412-5F2D3D0AF4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5018" y="6510077"/>
                <a:ext cx="7982" cy="13917"/>
              </a:xfrm>
              <a:custGeom>
                <a:avLst/>
                <a:gdLst>
                  <a:gd name="T0" fmla="*/ 12 w 12"/>
                  <a:gd name="T1" fmla="*/ 6 h 19"/>
                  <a:gd name="T2" fmla="*/ 6 w 12"/>
                  <a:gd name="T3" fmla="*/ 0 h 19"/>
                  <a:gd name="T4" fmla="*/ 0 w 12"/>
                  <a:gd name="T5" fmla="*/ 10 h 19"/>
                  <a:gd name="T6" fmla="*/ 7 w 12"/>
                  <a:gd name="T7" fmla="*/ 19 h 19"/>
                  <a:gd name="T8" fmla="*/ 12 w 12"/>
                  <a:gd name="T9" fmla="*/ 6 h 19"/>
                  <a:gd name="T10" fmla="*/ 12 w 12"/>
                  <a:gd name="T11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9">
                    <a:moveTo>
                      <a:pt x="12" y="6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3" name="Chile">
                <a:extLst>
                  <a:ext uri="{FF2B5EF4-FFF2-40B4-BE49-F238E27FC236}">
                    <a16:creationId xmlns:a16="http://schemas.microsoft.com/office/drawing/2014/main" id="{16E9FA2C-89EE-48C0-B61C-C8AD3E4F58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55109" y="6472306"/>
                <a:ext cx="23946" cy="41749"/>
              </a:xfrm>
              <a:custGeom>
                <a:avLst/>
                <a:gdLst>
                  <a:gd name="T0" fmla="*/ 32 w 35"/>
                  <a:gd name="T1" fmla="*/ 44 h 56"/>
                  <a:gd name="T2" fmla="*/ 35 w 35"/>
                  <a:gd name="T3" fmla="*/ 27 h 56"/>
                  <a:gd name="T4" fmla="*/ 32 w 35"/>
                  <a:gd name="T5" fmla="*/ 3 h 56"/>
                  <a:gd name="T6" fmla="*/ 21 w 35"/>
                  <a:gd name="T7" fmla="*/ 0 h 56"/>
                  <a:gd name="T8" fmla="*/ 21 w 35"/>
                  <a:gd name="T9" fmla="*/ 10 h 56"/>
                  <a:gd name="T10" fmla="*/ 0 w 35"/>
                  <a:gd name="T11" fmla="*/ 6 h 56"/>
                  <a:gd name="T12" fmla="*/ 17 w 35"/>
                  <a:gd name="T13" fmla="*/ 28 h 56"/>
                  <a:gd name="T14" fmla="*/ 13 w 35"/>
                  <a:gd name="T15" fmla="*/ 56 h 56"/>
                  <a:gd name="T16" fmla="*/ 32 w 35"/>
                  <a:gd name="T17" fmla="*/ 44 h 56"/>
                  <a:gd name="T18" fmla="*/ 32 w 35"/>
                  <a:gd name="T19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56">
                    <a:moveTo>
                      <a:pt x="32" y="44"/>
                    </a:moveTo>
                    <a:cubicBezTo>
                      <a:pt x="35" y="27"/>
                      <a:pt x="35" y="27"/>
                      <a:pt x="35" y="27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4" name="Chile">
                <a:extLst>
                  <a:ext uri="{FF2B5EF4-FFF2-40B4-BE49-F238E27FC236}">
                    <a16:creationId xmlns:a16="http://schemas.microsoft.com/office/drawing/2014/main" id="{79C1A283-90D8-432F-AD4B-17B57ED234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35155" y="6456401"/>
                <a:ext cx="15963" cy="27832"/>
              </a:xfrm>
              <a:custGeom>
                <a:avLst/>
                <a:gdLst>
                  <a:gd name="T0" fmla="*/ 0 w 23"/>
                  <a:gd name="T1" fmla="*/ 17 h 39"/>
                  <a:gd name="T2" fmla="*/ 11 w 23"/>
                  <a:gd name="T3" fmla="*/ 18 h 39"/>
                  <a:gd name="T4" fmla="*/ 18 w 23"/>
                  <a:gd name="T5" fmla="*/ 39 h 39"/>
                  <a:gd name="T6" fmla="*/ 23 w 23"/>
                  <a:gd name="T7" fmla="*/ 20 h 39"/>
                  <a:gd name="T8" fmla="*/ 23 w 23"/>
                  <a:gd name="T9" fmla="*/ 4 h 39"/>
                  <a:gd name="T10" fmla="*/ 7 w 23"/>
                  <a:gd name="T11" fmla="*/ 0 h 39"/>
                  <a:gd name="T12" fmla="*/ 0 w 23"/>
                  <a:gd name="T13" fmla="*/ 17 h 39"/>
                  <a:gd name="T14" fmla="*/ 0 w 23"/>
                  <a:gd name="T15" fmla="*/ 1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39">
                    <a:moveTo>
                      <a:pt x="0" y="17"/>
                    </a:moveTo>
                    <a:cubicBezTo>
                      <a:pt x="11" y="18"/>
                      <a:pt x="11" y="18"/>
                      <a:pt x="11" y="18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5" name="Chile">
                <a:extLst>
                  <a:ext uri="{FF2B5EF4-FFF2-40B4-BE49-F238E27FC236}">
                    <a16:creationId xmlns:a16="http://schemas.microsoft.com/office/drawing/2014/main" id="{765D98CA-F69F-4278-971B-463931C1B6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93250" y="6382845"/>
                <a:ext cx="65849" cy="73556"/>
              </a:xfrm>
              <a:custGeom>
                <a:avLst/>
                <a:gdLst>
                  <a:gd name="T0" fmla="*/ 65 w 93"/>
                  <a:gd name="T1" fmla="*/ 95 h 102"/>
                  <a:gd name="T2" fmla="*/ 73 w 93"/>
                  <a:gd name="T3" fmla="*/ 85 h 102"/>
                  <a:gd name="T4" fmla="*/ 92 w 93"/>
                  <a:gd name="T5" fmla="*/ 102 h 102"/>
                  <a:gd name="T6" fmla="*/ 93 w 93"/>
                  <a:gd name="T7" fmla="*/ 86 h 102"/>
                  <a:gd name="T8" fmla="*/ 74 w 93"/>
                  <a:gd name="T9" fmla="*/ 66 h 102"/>
                  <a:gd name="T10" fmla="*/ 59 w 93"/>
                  <a:gd name="T11" fmla="*/ 33 h 102"/>
                  <a:gd name="T12" fmla="*/ 37 w 93"/>
                  <a:gd name="T13" fmla="*/ 5 h 102"/>
                  <a:gd name="T14" fmla="*/ 28 w 93"/>
                  <a:gd name="T15" fmla="*/ 10 h 102"/>
                  <a:gd name="T16" fmla="*/ 14 w 93"/>
                  <a:gd name="T17" fmla="*/ 7 h 102"/>
                  <a:gd name="T18" fmla="*/ 11 w 93"/>
                  <a:gd name="T19" fmla="*/ 33 h 102"/>
                  <a:gd name="T20" fmla="*/ 39 w 93"/>
                  <a:gd name="T21" fmla="*/ 33 h 102"/>
                  <a:gd name="T22" fmla="*/ 27 w 93"/>
                  <a:gd name="T23" fmla="*/ 57 h 102"/>
                  <a:gd name="T24" fmla="*/ 36 w 93"/>
                  <a:gd name="T25" fmla="*/ 57 h 102"/>
                  <a:gd name="T26" fmla="*/ 49 w 93"/>
                  <a:gd name="T27" fmla="*/ 45 h 102"/>
                  <a:gd name="T28" fmla="*/ 48 w 93"/>
                  <a:gd name="T29" fmla="*/ 60 h 102"/>
                  <a:gd name="T30" fmla="*/ 65 w 93"/>
                  <a:gd name="T31" fmla="*/ 9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3" h="102">
                    <a:moveTo>
                      <a:pt x="65" y="95"/>
                    </a:moveTo>
                    <a:cubicBezTo>
                      <a:pt x="70" y="94"/>
                      <a:pt x="73" y="85"/>
                      <a:pt x="73" y="85"/>
                    </a:cubicBezTo>
                    <a:cubicBezTo>
                      <a:pt x="92" y="102"/>
                      <a:pt x="92" y="102"/>
                      <a:pt x="92" y="102"/>
                    </a:cubicBezTo>
                    <a:cubicBezTo>
                      <a:pt x="93" y="86"/>
                      <a:pt x="93" y="86"/>
                      <a:pt x="93" y="86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59" y="44"/>
                      <a:pt x="59" y="33"/>
                    </a:cubicBezTo>
                    <a:cubicBezTo>
                      <a:pt x="59" y="22"/>
                      <a:pt x="48" y="10"/>
                      <a:pt x="37" y="5"/>
                    </a:cubicBezTo>
                    <a:cubicBezTo>
                      <a:pt x="28" y="0"/>
                      <a:pt x="28" y="10"/>
                      <a:pt x="28" y="10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7"/>
                      <a:pt x="0" y="33"/>
                      <a:pt x="11" y="33"/>
                    </a:cubicBezTo>
                    <a:cubicBezTo>
                      <a:pt x="20" y="33"/>
                      <a:pt x="39" y="33"/>
                      <a:pt x="39" y="33"/>
                    </a:cubicBezTo>
                    <a:cubicBezTo>
                      <a:pt x="27" y="57"/>
                      <a:pt x="27" y="57"/>
                      <a:pt x="27" y="57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0"/>
                      <a:pt x="61" y="97"/>
                      <a:pt x="65" y="95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6" name="Chile">
                <a:extLst>
                  <a:ext uri="{FF2B5EF4-FFF2-40B4-BE49-F238E27FC236}">
                    <a16:creationId xmlns:a16="http://schemas.microsoft.com/office/drawing/2014/main" id="{98070581-225F-46A4-AFE6-EFCC5FBB7D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47355" y="6160190"/>
                <a:ext cx="33922" cy="59640"/>
              </a:xfrm>
              <a:custGeom>
                <a:avLst/>
                <a:gdLst>
                  <a:gd name="T0" fmla="*/ 47 w 49"/>
                  <a:gd name="T1" fmla="*/ 83 h 83"/>
                  <a:gd name="T2" fmla="*/ 49 w 49"/>
                  <a:gd name="T3" fmla="*/ 53 h 83"/>
                  <a:gd name="T4" fmla="*/ 28 w 49"/>
                  <a:gd name="T5" fmla="*/ 33 h 83"/>
                  <a:gd name="T6" fmla="*/ 38 w 49"/>
                  <a:gd name="T7" fmla="*/ 24 h 83"/>
                  <a:gd name="T8" fmla="*/ 25 w 49"/>
                  <a:gd name="T9" fmla="*/ 8 h 83"/>
                  <a:gd name="T10" fmla="*/ 3 w 49"/>
                  <a:gd name="T11" fmla="*/ 0 h 83"/>
                  <a:gd name="T12" fmla="*/ 8 w 49"/>
                  <a:gd name="T13" fmla="*/ 37 h 83"/>
                  <a:gd name="T14" fmla="*/ 22 w 49"/>
                  <a:gd name="T15" fmla="*/ 59 h 83"/>
                  <a:gd name="T16" fmla="*/ 18 w 49"/>
                  <a:gd name="T17" fmla="*/ 72 h 83"/>
                  <a:gd name="T18" fmla="*/ 47 w 49"/>
                  <a:gd name="T19" fmla="*/ 83 h 83"/>
                  <a:gd name="T20" fmla="*/ 47 w 49"/>
                  <a:gd name="T21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83">
                    <a:moveTo>
                      <a:pt x="47" y="83"/>
                    </a:moveTo>
                    <a:cubicBezTo>
                      <a:pt x="49" y="53"/>
                      <a:pt x="49" y="53"/>
                      <a:pt x="49" y="5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34"/>
                      <a:pt x="8" y="37"/>
                    </a:cubicBezTo>
                    <a:cubicBezTo>
                      <a:pt x="16" y="40"/>
                      <a:pt x="22" y="59"/>
                      <a:pt x="22" y="59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47" y="83"/>
                      <a:pt x="47" y="83"/>
                      <a:pt x="47" y="83"/>
                    </a:cubicBezTo>
                    <a:cubicBezTo>
                      <a:pt x="47" y="83"/>
                      <a:pt x="47" y="83"/>
                      <a:pt x="47" y="83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7" name="Chile">
                <a:extLst>
                  <a:ext uri="{FF2B5EF4-FFF2-40B4-BE49-F238E27FC236}">
                    <a16:creationId xmlns:a16="http://schemas.microsoft.com/office/drawing/2014/main" id="{8F27CE55-4ADD-4111-A9EC-946D7A7101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1277" y="6259590"/>
                <a:ext cx="21949" cy="7952"/>
              </a:xfrm>
              <a:custGeom>
                <a:avLst/>
                <a:gdLst>
                  <a:gd name="T0" fmla="*/ 0 w 30"/>
                  <a:gd name="T1" fmla="*/ 5 h 13"/>
                  <a:gd name="T2" fmla="*/ 6 w 30"/>
                  <a:gd name="T3" fmla="*/ 13 h 13"/>
                  <a:gd name="T4" fmla="*/ 24 w 30"/>
                  <a:gd name="T5" fmla="*/ 13 h 13"/>
                  <a:gd name="T6" fmla="*/ 30 w 30"/>
                  <a:gd name="T7" fmla="*/ 0 h 13"/>
                  <a:gd name="T8" fmla="*/ 12 w 30"/>
                  <a:gd name="T9" fmla="*/ 5 h 13"/>
                  <a:gd name="T10" fmla="*/ 0 w 30"/>
                  <a:gd name="T11" fmla="*/ 5 h 13"/>
                  <a:gd name="T12" fmla="*/ 0 w 30"/>
                  <a:gd name="T13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3">
                    <a:moveTo>
                      <a:pt x="0" y="5"/>
                    </a:moveTo>
                    <a:cubicBezTo>
                      <a:pt x="6" y="13"/>
                      <a:pt x="6" y="13"/>
                      <a:pt x="6" y="13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8" name="Chile">
                <a:extLst>
                  <a:ext uri="{FF2B5EF4-FFF2-40B4-BE49-F238E27FC236}">
                    <a16:creationId xmlns:a16="http://schemas.microsoft.com/office/drawing/2014/main" id="{7C816C95-E3F2-4715-B91D-609F9A0D37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7264" y="6275494"/>
                <a:ext cx="21949" cy="21868"/>
              </a:xfrm>
              <a:custGeom>
                <a:avLst/>
                <a:gdLst>
                  <a:gd name="T0" fmla="*/ 13 w 30"/>
                  <a:gd name="T1" fmla="*/ 10 h 31"/>
                  <a:gd name="T2" fmla="*/ 15 w 30"/>
                  <a:gd name="T3" fmla="*/ 21 h 31"/>
                  <a:gd name="T4" fmla="*/ 30 w 30"/>
                  <a:gd name="T5" fmla="*/ 31 h 31"/>
                  <a:gd name="T6" fmla="*/ 30 w 30"/>
                  <a:gd name="T7" fmla="*/ 15 h 31"/>
                  <a:gd name="T8" fmla="*/ 21 w 30"/>
                  <a:gd name="T9" fmla="*/ 0 h 31"/>
                  <a:gd name="T10" fmla="*/ 0 w 30"/>
                  <a:gd name="T11" fmla="*/ 1 h 31"/>
                  <a:gd name="T12" fmla="*/ 13 w 30"/>
                  <a:gd name="T13" fmla="*/ 10 h 31"/>
                  <a:gd name="T14" fmla="*/ 13 w 30"/>
                  <a:gd name="T15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13" y="10"/>
                    </a:moveTo>
                    <a:cubicBezTo>
                      <a:pt x="15" y="21"/>
                      <a:pt x="15" y="21"/>
                      <a:pt x="15" y="21"/>
                    </a:cubicBezTo>
                    <a:cubicBezTo>
                      <a:pt x="30" y="31"/>
                      <a:pt x="30" y="31"/>
                      <a:pt x="30" y="31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9" name="Chile">
                <a:extLst>
                  <a:ext uri="{FF2B5EF4-FFF2-40B4-BE49-F238E27FC236}">
                    <a16:creationId xmlns:a16="http://schemas.microsoft.com/office/drawing/2014/main" id="{74852CE9-F2CF-49FA-B226-15301401FB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05222" y="6249650"/>
                <a:ext cx="31927" cy="19880"/>
              </a:xfrm>
              <a:custGeom>
                <a:avLst/>
                <a:gdLst>
                  <a:gd name="T0" fmla="*/ 13 w 43"/>
                  <a:gd name="T1" fmla="*/ 27 h 27"/>
                  <a:gd name="T2" fmla="*/ 22 w 43"/>
                  <a:gd name="T3" fmla="*/ 4 h 27"/>
                  <a:gd name="T4" fmla="*/ 13 w 43"/>
                  <a:gd name="T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" h="27">
                    <a:moveTo>
                      <a:pt x="13" y="27"/>
                    </a:moveTo>
                    <a:cubicBezTo>
                      <a:pt x="13" y="27"/>
                      <a:pt x="43" y="8"/>
                      <a:pt x="22" y="4"/>
                    </a:cubicBezTo>
                    <a:cubicBezTo>
                      <a:pt x="2" y="0"/>
                      <a:pt x="0" y="27"/>
                      <a:pt x="13" y="27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0" name="Chile">
                <a:extLst>
                  <a:ext uri="{FF2B5EF4-FFF2-40B4-BE49-F238E27FC236}">
                    <a16:creationId xmlns:a16="http://schemas.microsoft.com/office/drawing/2014/main" id="{AF0D0551-A954-4B67-9F01-5D867A31A9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73295" y="6225795"/>
                <a:ext cx="19955" cy="21868"/>
              </a:xfrm>
              <a:custGeom>
                <a:avLst/>
                <a:gdLst>
                  <a:gd name="T0" fmla="*/ 14 w 28"/>
                  <a:gd name="T1" fmla="*/ 10 h 30"/>
                  <a:gd name="T2" fmla="*/ 16 w 28"/>
                  <a:gd name="T3" fmla="*/ 27 h 30"/>
                  <a:gd name="T4" fmla="*/ 14 w 28"/>
                  <a:gd name="T5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0">
                    <a:moveTo>
                      <a:pt x="14" y="10"/>
                    </a:moveTo>
                    <a:cubicBezTo>
                      <a:pt x="0" y="20"/>
                      <a:pt x="7" y="30"/>
                      <a:pt x="16" y="27"/>
                    </a:cubicBezTo>
                    <a:cubicBezTo>
                      <a:pt x="28" y="23"/>
                      <a:pt x="27" y="0"/>
                      <a:pt x="14" y="10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1" name="Chile">
                <a:extLst>
                  <a:ext uri="{FF2B5EF4-FFF2-40B4-BE49-F238E27FC236}">
                    <a16:creationId xmlns:a16="http://schemas.microsoft.com/office/drawing/2014/main" id="{330AE9E0-00C4-43F5-9CA4-525485B689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67310" y="6251638"/>
                <a:ext cx="7982" cy="9941"/>
              </a:xfrm>
              <a:custGeom>
                <a:avLst/>
                <a:gdLst>
                  <a:gd name="T0" fmla="*/ 13 w 13"/>
                  <a:gd name="T1" fmla="*/ 0 h 15"/>
                  <a:gd name="T2" fmla="*/ 0 w 13"/>
                  <a:gd name="T3" fmla="*/ 2 h 15"/>
                  <a:gd name="T4" fmla="*/ 7 w 13"/>
                  <a:gd name="T5" fmla="*/ 15 h 15"/>
                  <a:gd name="T6" fmla="*/ 13 w 13"/>
                  <a:gd name="T7" fmla="*/ 0 h 15"/>
                  <a:gd name="T8" fmla="*/ 13 w 13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3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2" name="Chile">
                <a:extLst>
                  <a:ext uri="{FF2B5EF4-FFF2-40B4-BE49-F238E27FC236}">
                    <a16:creationId xmlns:a16="http://schemas.microsoft.com/office/drawing/2014/main" id="{1A8D0681-EBFE-4EA9-9F76-FF0757E01E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6718" y="6545860"/>
                <a:ext cx="45895" cy="57652"/>
              </a:xfrm>
              <a:custGeom>
                <a:avLst/>
                <a:gdLst>
                  <a:gd name="T0" fmla="*/ 50 w 63"/>
                  <a:gd name="T1" fmla="*/ 41 h 83"/>
                  <a:gd name="T2" fmla="*/ 50 w 63"/>
                  <a:gd name="T3" fmla="*/ 53 h 83"/>
                  <a:gd name="T4" fmla="*/ 31 w 63"/>
                  <a:gd name="T5" fmla="*/ 71 h 83"/>
                  <a:gd name="T6" fmla="*/ 63 w 63"/>
                  <a:gd name="T7" fmla="*/ 83 h 83"/>
                  <a:gd name="T8" fmla="*/ 63 w 63"/>
                  <a:gd name="T9" fmla="*/ 7 h 83"/>
                  <a:gd name="T10" fmla="*/ 58 w 63"/>
                  <a:gd name="T11" fmla="*/ 2 h 83"/>
                  <a:gd name="T12" fmla="*/ 38 w 63"/>
                  <a:gd name="T13" fmla="*/ 8 h 83"/>
                  <a:gd name="T14" fmla="*/ 29 w 63"/>
                  <a:gd name="T15" fmla="*/ 0 h 83"/>
                  <a:gd name="T16" fmla="*/ 22 w 63"/>
                  <a:gd name="T17" fmla="*/ 12 h 83"/>
                  <a:gd name="T18" fmla="*/ 10 w 63"/>
                  <a:gd name="T19" fmla="*/ 15 h 83"/>
                  <a:gd name="T20" fmla="*/ 11 w 63"/>
                  <a:gd name="T21" fmla="*/ 25 h 83"/>
                  <a:gd name="T22" fmla="*/ 0 w 63"/>
                  <a:gd name="T23" fmla="*/ 27 h 83"/>
                  <a:gd name="T24" fmla="*/ 1 w 63"/>
                  <a:gd name="T25" fmla="*/ 45 h 83"/>
                  <a:gd name="T26" fmla="*/ 36 w 63"/>
                  <a:gd name="T27" fmla="*/ 35 h 83"/>
                  <a:gd name="T28" fmla="*/ 50 w 63"/>
                  <a:gd name="T29" fmla="*/ 41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83">
                    <a:moveTo>
                      <a:pt x="50" y="41"/>
                    </a:moveTo>
                    <a:cubicBezTo>
                      <a:pt x="50" y="53"/>
                      <a:pt x="50" y="53"/>
                      <a:pt x="50" y="53"/>
                    </a:cubicBezTo>
                    <a:cubicBezTo>
                      <a:pt x="50" y="53"/>
                      <a:pt x="20" y="68"/>
                      <a:pt x="31" y="71"/>
                    </a:cubicBezTo>
                    <a:cubicBezTo>
                      <a:pt x="36" y="73"/>
                      <a:pt x="49" y="78"/>
                      <a:pt x="63" y="83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58" y="3"/>
                      <a:pt x="58" y="2"/>
                      <a:pt x="58" y="2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4" y="57"/>
                      <a:pt x="36" y="35"/>
                      <a:pt x="36" y="35"/>
                    </a:cubicBezTo>
                    <a:cubicBezTo>
                      <a:pt x="50" y="41"/>
                      <a:pt x="50" y="41"/>
                      <a:pt x="50" y="41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3" name="Chile">
                <a:extLst>
                  <a:ext uri="{FF2B5EF4-FFF2-40B4-BE49-F238E27FC236}">
                    <a16:creationId xmlns:a16="http://schemas.microsoft.com/office/drawing/2014/main" id="{3212DA09-BF73-4E4F-9210-FFB78ED158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4676" y="6607489"/>
                <a:ext cx="27936" cy="15904"/>
              </a:xfrm>
              <a:custGeom>
                <a:avLst/>
                <a:gdLst>
                  <a:gd name="T0" fmla="*/ 40 w 40"/>
                  <a:gd name="T1" fmla="*/ 8 h 23"/>
                  <a:gd name="T2" fmla="*/ 34 w 40"/>
                  <a:gd name="T3" fmla="*/ 13 h 23"/>
                  <a:gd name="T4" fmla="*/ 22 w 40"/>
                  <a:gd name="T5" fmla="*/ 0 h 23"/>
                  <a:gd name="T6" fmla="*/ 12 w 40"/>
                  <a:gd name="T7" fmla="*/ 4 h 23"/>
                  <a:gd name="T8" fmla="*/ 20 w 40"/>
                  <a:gd name="T9" fmla="*/ 10 h 23"/>
                  <a:gd name="T10" fmla="*/ 0 w 40"/>
                  <a:gd name="T11" fmla="*/ 7 h 23"/>
                  <a:gd name="T12" fmla="*/ 21 w 40"/>
                  <a:gd name="T13" fmla="*/ 23 h 23"/>
                  <a:gd name="T14" fmla="*/ 40 w 40"/>
                  <a:gd name="T15" fmla="*/ 23 h 23"/>
                  <a:gd name="T16" fmla="*/ 40 w 40"/>
                  <a:gd name="T17" fmla="*/ 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23">
                    <a:moveTo>
                      <a:pt x="40" y="8"/>
                    </a:moveTo>
                    <a:cubicBezTo>
                      <a:pt x="36" y="10"/>
                      <a:pt x="34" y="13"/>
                      <a:pt x="34" y="13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6" y="23"/>
                      <a:pt x="21" y="23"/>
                    </a:cubicBezTo>
                    <a:cubicBezTo>
                      <a:pt x="29" y="23"/>
                      <a:pt x="35" y="23"/>
                      <a:pt x="40" y="23"/>
                    </a:cubicBezTo>
                    <a:lnTo>
                      <a:pt x="40" y="8"/>
                    </a:lnTo>
                    <a:close/>
                  </a:path>
                </a:pathLst>
              </a:custGeom>
              <a:solidFill>
                <a:srgbClr val="C6C6C6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4" name="Chile">
                <a:extLst>
                  <a:ext uri="{FF2B5EF4-FFF2-40B4-BE49-F238E27FC236}">
                    <a16:creationId xmlns:a16="http://schemas.microsoft.com/office/drawing/2014/main" id="{94886B6F-4A8E-4643-854D-C4613CB27E3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67537" y="5261618"/>
                <a:ext cx="399090" cy="1339906"/>
              </a:xfrm>
              <a:custGeom>
                <a:avLst/>
                <a:gdLst>
                  <a:gd name="T0" fmla="*/ 478 w 554"/>
                  <a:gd name="T1" fmla="*/ 1799 h 1868"/>
                  <a:gd name="T2" fmla="*/ 552 w 554"/>
                  <a:gd name="T3" fmla="*/ 1778 h 1868"/>
                  <a:gd name="T4" fmla="*/ 397 w 554"/>
                  <a:gd name="T5" fmla="*/ 1746 h 1868"/>
                  <a:gd name="T6" fmla="*/ 325 w 554"/>
                  <a:gd name="T7" fmla="*/ 1677 h 1868"/>
                  <a:gd name="T8" fmla="*/ 304 w 554"/>
                  <a:gd name="T9" fmla="*/ 1613 h 1868"/>
                  <a:gd name="T10" fmla="*/ 303 w 554"/>
                  <a:gd name="T11" fmla="*/ 1530 h 1868"/>
                  <a:gd name="T12" fmla="*/ 295 w 554"/>
                  <a:gd name="T13" fmla="*/ 1457 h 1868"/>
                  <a:gd name="T14" fmla="*/ 284 w 554"/>
                  <a:gd name="T15" fmla="*/ 1391 h 1868"/>
                  <a:gd name="T16" fmla="*/ 235 w 554"/>
                  <a:gd name="T17" fmla="*/ 1320 h 1868"/>
                  <a:gd name="T18" fmla="*/ 196 w 554"/>
                  <a:gd name="T19" fmla="*/ 1235 h 1868"/>
                  <a:gd name="T20" fmla="*/ 180 w 554"/>
                  <a:gd name="T21" fmla="*/ 1148 h 1868"/>
                  <a:gd name="T22" fmla="*/ 179 w 554"/>
                  <a:gd name="T23" fmla="*/ 1069 h 1868"/>
                  <a:gd name="T24" fmla="*/ 163 w 554"/>
                  <a:gd name="T25" fmla="*/ 975 h 1868"/>
                  <a:gd name="T26" fmla="*/ 161 w 554"/>
                  <a:gd name="T27" fmla="*/ 875 h 1868"/>
                  <a:gd name="T28" fmla="*/ 139 w 554"/>
                  <a:gd name="T29" fmla="*/ 788 h 1868"/>
                  <a:gd name="T30" fmla="*/ 100 w 554"/>
                  <a:gd name="T31" fmla="*/ 722 h 1868"/>
                  <a:gd name="T32" fmla="*/ 100 w 554"/>
                  <a:gd name="T33" fmla="*/ 606 h 1868"/>
                  <a:gd name="T34" fmla="*/ 156 w 554"/>
                  <a:gd name="T35" fmla="*/ 478 h 1868"/>
                  <a:gd name="T36" fmla="*/ 119 w 554"/>
                  <a:gd name="T37" fmla="*/ 372 h 1868"/>
                  <a:gd name="T38" fmla="*/ 137 w 554"/>
                  <a:gd name="T39" fmla="*/ 247 h 1868"/>
                  <a:gd name="T40" fmla="*/ 85 w 554"/>
                  <a:gd name="T41" fmla="*/ 142 h 1868"/>
                  <a:gd name="T42" fmla="*/ 57 w 554"/>
                  <a:gd name="T43" fmla="*/ 21 h 1868"/>
                  <a:gd name="T44" fmla="*/ 1 w 554"/>
                  <a:gd name="T45" fmla="*/ 44 h 1868"/>
                  <a:gd name="T46" fmla="*/ 33 w 554"/>
                  <a:gd name="T47" fmla="*/ 279 h 1868"/>
                  <a:gd name="T48" fmla="*/ 45 w 554"/>
                  <a:gd name="T49" fmla="*/ 400 h 1868"/>
                  <a:gd name="T50" fmla="*/ 39 w 554"/>
                  <a:gd name="T51" fmla="*/ 510 h 1868"/>
                  <a:gd name="T52" fmla="*/ 32 w 554"/>
                  <a:gd name="T53" fmla="*/ 594 h 1868"/>
                  <a:gd name="T54" fmla="*/ 64 w 554"/>
                  <a:gd name="T55" fmla="*/ 739 h 1868"/>
                  <a:gd name="T56" fmla="*/ 79 w 554"/>
                  <a:gd name="T57" fmla="*/ 867 h 1868"/>
                  <a:gd name="T58" fmla="*/ 64 w 554"/>
                  <a:gd name="T59" fmla="*/ 1014 h 1868"/>
                  <a:gd name="T60" fmla="*/ 97 w 554"/>
                  <a:gd name="T61" fmla="*/ 1118 h 1868"/>
                  <a:gd name="T62" fmla="*/ 124 w 554"/>
                  <a:gd name="T63" fmla="*/ 1247 h 1868"/>
                  <a:gd name="T64" fmla="*/ 185 w 554"/>
                  <a:gd name="T65" fmla="*/ 1238 h 1868"/>
                  <a:gd name="T66" fmla="*/ 183 w 554"/>
                  <a:gd name="T67" fmla="*/ 1287 h 1868"/>
                  <a:gd name="T68" fmla="*/ 192 w 554"/>
                  <a:gd name="T69" fmla="*/ 1357 h 1868"/>
                  <a:gd name="T70" fmla="*/ 219 w 554"/>
                  <a:gd name="T71" fmla="*/ 1426 h 1868"/>
                  <a:gd name="T72" fmla="*/ 212 w 554"/>
                  <a:gd name="T73" fmla="*/ 1453 h 1868"/>
                  <a:gd name="T74" fmla="*/ 198 w 554"/>
                  <a:gd name="T75" fmla="*/ 1468 h 1868"/>
                  <a:gd name="T76" fmla="*/ 169 w 554"/>
                  <a:gd name="T77" fmla="*/ 1467 h 1868"/>
                  <a:gd name="T78" fmla="*/ 169 w 554"/>
                  <a:gd name="T79" fmla="*/ 1494 h 1868"/>
                  <a:gd name="T80" fmla="*/ 219 w 554"/>
                  <a:gd name="T81" fmla="*/ 1544 h 1868"/>
                  <a:gd name="T82" fmla="*/ 256 w 554"/>
                  <a:gd name="T83" fmla="*/ 1555 h 1868"/>
                  <a:gd name="T84" fmla="*/ 246 w 554"/>
                  <a:gd name="T85" fmla="*/ 1607 h 1868"/>
                  <a:gd name="T86" fmla="*/ 284 w 554"/>
                  <a:gd name="T87" fmla="*/ 1648 h 1868"/>
                  <a:gd name="T88" fmla="*/ 297 w 554"/>
                  <a:gd name="T89" fmla="*/ 1675 h 1868"/>
                  <a:gd name="T90" fmla="*/ 318 w 554"/>
                  <a:gd name="T91" fmla="*/ 1692 h 1868"/>
                  <a:gd name="T92" fmla="*/ 358 w 554"/>
                  <a:gd name="T93" fmla="*/ 1751 h 1868"/>
                  <a:gd name="T94" fmla="*/ 402 w 554"/>
                  <a:gd name="T95" fmla="*/ 1787 h 1868"/>
                  <a:gd name="T96" fmla="*/ 404 w 554"/>
                  <a:gd name="T97" fmla="*/ 1802 h 1868"/>
                  <a:gd name="T98" fmla="*/ 426 w 554"/>
                  <a:gd name="T99" fmla="*/ 1812 h 1868"/>
                  <a:gd name="T100" fmla="*/ 434 w 554"/>
                  <a:gd name="T101" fmla="*/ 1836 h 1868"/>
                  <a:gd name="T102" fmla="*/ 432 w 554"/>
                  <a:gd name="T103" fmla="*/ 1858 h 1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54" h="1868">
                    <a:moveTo>
                      <a:pt x="457" y="1842"/>
                    </a:moveTo>
                    <a:cubicBezTo>
                      <a:pt x="466" y="1838"/>
                      <a:pt x="465" y="1848"/>
                      <a:pt x="465" y="1848"/>
                    </a:cubicBezTo>
                    <a:cubicBezTo>
                      <a:pt x="465" y="1848"/>
                      <a:pt x="479" y="1851"/>
                      <a:pt x="494" y="1848"/>
                    </a:cubicBezTo>
                    <a:cubicBezTo>
                      <a:pt x="507" y="1844"/>
                      <a:pt x="478" y="1823"/>
                      <a:pt x="478" y="1823"/>
                    </a:cubicBezTo>
                    <a:cubicBezTo>
                      <a:pt x="478" y="1799"/>
                      <a:pt x="478" y="1799"/>
                      <a:pt x="478" y="1799"/>
                    </a:cubicBezTo>
                    <a:cubicBezTo>
                      <a:pt x="502" y="1797"/>
                      <a:pt x="502" y="1797"/>
                      <a:pt x="502" y="1797"/>
                    </a:cubicBezTo>
                    <a:cubicBezTo>
                      <a:pt x="500" y="1786"/>
                      <a:pt x="500" y="1786"/>
                      <a:pt x="500" y="1786"/>
                    </a:cubicBezTo>
                    <a:cubicBezTo>
                      <a:pt x="516" y="1787"/>
                      <a:pt x="516" y="1787"/>
                      <a:pt x="516" y="1787"/>
                    </a:cubicBezTo>
                    <a:cubicBezTo>
                      <a:pt x="520" y="1776"/>
                      <a:pt x="532" y="1774"/>
                      <a:pt x="532" y="1774"/>
                    </a:cubicBezTo>
                    <a:cubicBezTo>
                      <a:pt x="530" y="1773"/>
                      <a:pt x="554" y="1779"/>
                      <a:pt x="552" y="1778"/>
                    </a:cubicBezTo>
                    <a:cubicBezTo>
                      <a:pt x="550" y="1776"/>
                      <a:pt x="538" y="1766"/>
                      <a:pt x="537" y="1765"/>
                    </a:cubicBezTo>
                    <a:cubicBezTo>
                      <a:pt x="533" y="1762"/>
                      <a:pt x="518" y="1764"/>
                      <a:pt x="518" y="1764"/>
                    </a:cubicBezTo>
                    <a:cubicBezTo>
                      <a:pt x="518" y="1764"/>
                      <a:pt x="487" y="1765"/>
                      <a:pt x="471" y="1764"/>
                    </a:cubicBezTo>
                    <a:cubicBezTo>
                      <a:pt x="456" y="1762"/>
                      <a:pt x="413" y="1764"/>
                      <a:pt x="413" y="1764"/>
                    </a:cubicBezTo>
                    <a:cubicBezTo>
                      <a:pt x="401" y="1752"/>
                      <a:pt x="397" y="1746"/>
                      <a:pt x="397" y="1746"/>
                    </a:cubicBezTo>
                    <a:cubicBezTo>
                      <a:pt x="390" y="1736"/>
                      <a:pt x="390" y="1736"/>
                      <a:pt x="390" y="1736"/>
                    </a:cubicBezTo>
                    <a:cubicBezTo>
                      <a:pt x="376" y="1720"/>
                      <a:pt x="376" y="1720"/>
                      <a:pt x="376" y="1720"/>
                    </a:cubicBezTo>
                    <a:cubicBezTo>
                      <a:pt x="376" y="1720"/>
                      <a:pt x="382" y="1709"/>
                      <a:pt x="368" y="1696"/>
                    </a:cubicBezTo>
                    <a:cubicBezTo>
                      <a:pt x="353" y="1684"/>
                      <a:pt x="348" y="1701"/>
                      <a:pt x="338" y="1701"/>
                    </a:cubicBezTo>
                    <a:cubicBezTo>
                      <a:pt x="328" y="1701"/>
                      <a:pt x="325" y="1677"/>
                      <a:pt x="325" y="1677"/>
                    </a:cubicBezTo>
                    <a:cubicBezTo>
                      <a:pt x="305" y="1673"/>
                      <a:pt x="305" y="1673"/>
                      <a:pt x="305" y="1673"/>
                    </a:cubicBezTo>
                    <a:cubicBezTo>
                      <a:pt x="305" y="1673"/>
                      <a:pt x="307" y="1654"/>
                      <a:pt x="303" y="1649"/>
                    </a:cubicBezTo>
                    <a:cubicBezTo>
                      <a:pt x="298" y="1644"/>
                      <a:pt x="296" y="1629"/>
                      <a:pt x="296" y="1629"/>
                    </a:cubicBezTo>
                    <a:cubicBezTo>
                      <a:pt x="303" y="1625"/>
                      <a:pt x="303" y="1625"/>
                      <a:pt x="303" y="1625"/>
                    </a:cubicBezTo>
                    <a:cubicBezTo>
                      <a:pt x="304" y="1613"/>
                      <a:pt x="304" y="1613"/>
                      <a:pt x="304" y="1613"/>
                    </a:cubicBezTo>
                    <a:cubicBezTo>
                      <a:pt x="304" y="1613"/>
                      <a:pt x="318" y="1608"/>
                      <a:pt x="321" y="1603"/>
                    </a:cubicBezTo>
                    <a:cubicBezTo>
                      <a:pt x="324" y="1598"/>
                      <a:pt x="304" y="1584"/>
                      <a:pt x="304" y="1584"/>
                    </a:cubicBezTo>
                    <a:cubicBezTo>
                      <a:pt x="304" y="1584"/>
                      <a:pt x="320" y="1575"/>
                      <a:pt x="319" y="1572"/>
                    </a:cubicBezTo>
                    <a:cubicBezTo>
                      <a:pt x="318" y="1570"/>
                      <a:pt x="300" y="1559"/>
                      <a:pt x="300" y="1559"/>
                    </a:cubicBezTo>
                    <a:cubicBezTo>
                      <a:pt x="303" y="1530"/>
                      <a:pt x="303" y="1530"/>
                      <a:pt x="303" y="1530"/>
                    </a:cubicBezTo>
                    <a:cubicBezTo>
                      <a:pt x="313" y="1526"/>
                      <a:pt x="313" y="1526"/>
                      <a:pt x="313" y="1526"/>
                    </a:cubicBezTo>
                    <a:cubicBezTo>
                      <a:pt x="304" y="1510"/>
                      <a:pt x="304" y="1510"/>
                      <a:pt x="304" y="1510"/>
                    </a:cubicBezTo>
                    <a:cubicBezTo>
                      <a:pt x="306" y="1489"/>
                      <a:pt x="306" y="1489"/>
                      <a:pt x="306" y="1489"/>
                    </a:cubicBezTo>
                    <a:cubicBezTo>
                      <a:pt x="292" y="1472"/>
                      <a:pt x="292" y="1472"/>
                      <a:pt x="292" y="1472"/>
                    </a:cubicBezTo>
                    <a:cubicBezTo>
                      <a:pt x="295" y="1457"/>
                      <a:pt x="295" y="1457"/>
                      <a:pt x="295" y="1457"/>
                    </a:cubicBezTo>
                    <a:cubicBezTo>
                      <a:pt x="280" y="1446"/>
                      <a:pt x="280" y="1446"/>
                      <a:pt x="280" y="1446"/>
                    </a:cubicBezTo>
                    <a:cubicBezTo>
                      <a:pt x="280" y="1446"/>
                      <a:pt x="292" y="1435"/>
                      <a:pt x="295" y="1428"/>
                    </a:cubicBezTo>
                    <a:cubicBezTo>
                      <a:pt x="298" y="1420"/>
                      <a:pt x="276" y="1411"/>
                      <a:pt x="276" y="1411"/>
                    </a:cubicBezTo>
                    <a:cubicBezTo>
                      <a:pt x="276" y="1411"/>
                      <a:pt x="254" y="1405"/>
                      <a:pt x="253" y="1402"/>
                    </a:cubicBezTo>
                    <a:cubicBezTo>
                      <a:pt x="252" y="1399"/>
                      <a:pt x="282" y="1402"/>
                      <a:pt x="284" y="1391"/>
                    </a:cubicBezTo>
                    <a:cubicBezTo>
                      <a:pt x="286" y="1380"/>
                      <a:pt x="268" y="1385"/>
                      <a:pt x="261" y="1385"/>
                    </a:cubicBezTo>
                    <a:cubicBezTo>
                      <a:pt x="255" y="1385"/>
                      <a:pt x="250" y="1376"/>
                      <a:pt x="250" y="1376"/>
                    </a:cubicBezTo>
                    <a:cubicBezTo>
                      <a:pt x="250" y="1376"/>
                      <a:pt x="249" y="1359"/>
                      <a:pt x="248" y="1349"/>
                    </a:cubicBezTo>
                    <a:cubicBezTo>
                      <a:pt x="247" y="1338"/>
                      <a:pt x="232" y="1337"/>
                      <a:pt x="232" y="1337"/>
                    </a:cubicBezTo>
                    <a:cubicBezTo>
                      <a:pt x="235" y="1320"/>
                      <a:pt x="235" y="1320"/>
                      <a:pt x="235" y="1320"/>
                    </a:cubicBezTo>
                    <a:cubicBezTo>
                      <a:pt x="226" y="1315"/>
                      <a:pt x="226" y="1315"/>
                      <a:pt x="226" y="1315"/>
                    </a:cubicBezTo>
                    <a:cubicBezTo>
                      <a:pt x="226" y="1315"/>
                      <a:pt x="217" y="1311"/>
                      <a:pt x="214" y="1304"/>
                    </a:cubicBezTo>
                    <a:cubicBezTo>
                      <a:pt x="211" y="1296"/>
                      <a:pt x="207" y="1267"/>
                      <a:pt x="207" y="1267"/>
                    </a:cubicBezTo>
                    <a:cubicBezTo>
                      <a:pt x="207" y="1267"/>
                      <a:pt x="217" y="1259"/>
                      <a:pt x="222" y="1260"/>
                    </a:cubicBezTo>
                    <a:cubicBezTo>
                      <a:pt x="227" y="1260"/>
                      <a:pt x="199" y="1240"/>
                      <a:pt x="196" y="1235"/>
                    </a:cubicBezTo>
                    <a:cubicBezTo>
                      <a:pt x="193" y="1229"/>
                      <a:pt x="193" y="1211"/>
                      <a:pt x="193" y="1211"/>
                    </a:cubicBezTo>
                    <a:cubicBezTo>
                      <a:pt x="193" y="1211"/>
                      <a:pt x="186" y="1200"/>
                      <a:pt x="185" y="1194"/>
                    </a:cubicBezTo>
                    <a:cubicBezTo>
                      <a:pt x="185" y="1189"/>
                      <a:pt x="189" y="1171"/>
                      <a:pt x="189" y="1171"/>
                    </a:cubicBezTo>
                    <a:cubicBezTo>
                      <a:pt x="176" y="1164"/>
                      <a:pt x="176" y="1164"/>
                      <a:pt x="176" y="1164"/>
                    </a:cubicBezTo>
                    <a:cubicBezTo>
                      <a:pt x="176" y="1164"/>
                      <a:pt x="181" y="1156"/>
                      <a:pt x="180" y="1148"/>
                    </a:cubicBezTo>
                    <a:cubicBezTo>
                      <a:pt x="179" y="1141"/>
                      <a:pt x="169" y="1136"/>
                      <a:pt x="169" y="1136"/>
                    </a:cubicBezTo>
                    <a:cubicBezTo>
                      <a:pt x="182" y="1127"/>
                      <a:pt x="182" y="1127"/>
                      <a:pt x="182" y="1127"/>
                    </a:cubicBezTo>
                    <a:cubicBezTo>
                      <a:pt x="174" y="1100"/>
                      <a:pt x="174" y="1100"/>
                      <a:pt x="174" y="1100"/>
                    </a:cubicBezTo>
                    <a:cubicBezTo>
                      <a:pt x="174" y="1100"/>
                      <a:pt x="187" y="1095"/>
                      <a:pt x="192" y="1087"/>
                    </a:cubicBezTo>
                    <a:cubicBezTo>
                      <a:pt x="197" y="1078"/>
                      <a:pt x="179" y="1069"/>
                      <a:pt x="179" y="1069"/>
                    </a:cubicBezTo>
                    <a:cubicBezTo>
                      <a:pt x="178" y="1058"/>
                      <a:pt x="178" y="1058"/>
                      <a:pt x="178" y="1058"/>
                    </a:cubicBezTo>
                    <a:cubicBezTo>
                      <a:pt x="159" y="1042"/>
                      <a:pt x="159" y="1042"/>
                      <a:pt x="159" y="1042"/>
                    </a:cubicBezTo>
                    <a:cubicBezTo>
                      <a:pt x="159" y="1042"/>
                      <a:pt x="159" y="1021"/>
                      <a:pt x="159" y="1015"/>
                    </a:cubicBezTo>
                    <a:cubicBezTo>
                      <a:pt x="159" y="1008"/>
                      <a:pt x="147" y="976"/>
                      <a:pt x="147" y="976"/>
                    </a:cubicBezTo>
                    <a:cubicBezTo>
                      <a:pt x="163" y="975"/>
                      <a:pt x="163" y="975"/>
                      <a:pt x="163" y="975"/>
                    </a:cubicBezTo>
                    <a:cubicBezTo>
                      <a:pt x="165" y="964"/>
                      <a:pt x="165" y="964"/>
                      <a:pt x="165" y="964"/>
                    </a:cubicBezTo>
                    <a:cubicBezTo>
                      <a:pt x="165" y="964"/>
                      <a:pt x="169" y="953"/>
                      <a:pt x="168" y="944"/>
                    </a:cubicBezTo>
                    <a:cubicBezTo>
                      <a:pt x="167" y="934"/>
                      <a:pt x="151" y="917"/>
                      <a:pt x="151" y="917"/>
                    </a:cubicBezTo>
                    <a:cubicBezTo>
                      <a:pt x="160" y="916"/>
                      <a:pt x="160" y="916"/>
                      <a:pt x="160" y="916"/>
                    </a:cubicBezTo>
                    <a:cubicBezTo>
                      <a:pt x="160" y="916"/>
                      <a:pt x="161" y="878"/>
                      <a:pt x="161" y="875"/>
                    </a:cubicBezTo>
                    <a:cubicBezTo>
                      <a:pt x="161" y="871"/>
                      <a:pt x="169" y="864"/>
                      <a:pt x="172" y="858"/>
                    </a:cubicBezTo>
                    <a:cubicBezTo>
                      <a:pt x="175" y="853"/>
                      <a:pt x="161" y="834"/>
                      <a:pt x="161" y="834"/>
                    </a:cubicBezTo>
                    <a:cubicBezTo>
                      <a:pt x="159" y="810"/>
                      <a:pt x="159" y="810"/>
                      <a:pt x="159" y="810"/>
                    </a:cubicBezTo>
                    <a:cubicBezTo>
                      <a:pt x="159" y="810"/>
                      <a:pt x="155" y="812"/>
                      <a:pt x="143" y="809"/>
                    </a:cubicBezTo>
                    <a:cubicBezTo>
                      <a:pt x="132" y="806"/>
                      <a:pt x="139" y="788"/>
                      <a:pt x="139" y="788"/>
                    </a:cubicBezTo>
                    <a:cubicBezTo>
                      <a:pt x="137" y="782"/>
                      <a:pt x="137" y="782"/>
                      <a:pt x="137" y="782"/>
                    </a:cubicBezTo>
                    <a:cubicBezTo>
                      <a:pt x="129" y="762"/>
                      <a:pt x="129" y="762"/>
                      <a:pt x="129" y="762"/>
                    </a:cubicBezTo>
                    <a:cubicBezTo>
                      <a:pt x="116" y="753"/>
                      <a:pt x="116" y="753"/>
                      <a:pt x="116" y="753"/>
                    </a:cubicBezTo>
                    <a:cubicBezTo>
                      <a:pt x="116" y="753"/>
                      <a:pt x="118" y="744"/>
                      <a:pt x="120" y="740"/>
                    </a:cubicBezTo>
                    <a:cubicBezTo>
                      <a:pt x="122" y="736"/>
                      <a:pt x="100" y="722"/>
                      <a:pt x="100" y="722"/>
                    </a:cubicBezTo>
                    <a:cubicBezTo>
                      <a:pt x="100" y="722"/>
                      <a:pt x="98" y="706"/>
                      <a:pt x="98" y="701"/>
                    </a:cubicBezTo>
                    <a:cubicBezTo>
                      <a:pt x="98" y="696"/>
                      <a:pt x="108" y="695"/>
                      <a:pt x="108" y="695"/>
                    </a:cubicBezTo>
                    <a:cubicBezTo>
                      <a:pt x="105" y="658"/>
                      <a:pt x="105" y="658"/>
                      <a:pt x="105" y="658"/>
                    </a:cubicBezTo>
                    <a:cubicBezTo>
                      <a:pt x="105" y="658"/>
                      <a:pt x="114" y="662"/>
                      <a:pt x="118" y="658"/>
                    </a:cubicBezTo>
                    <a:cubicBezTo>
                      <a:pt x="123" y="653"/>
                      <a:pt x="101" y="610"/>
                      <a:pt x="100" y="606"/>
                    </a:cubicBezTo>
                    <a:cubicBezTo>
                      <a:pt x="99" y="602"/>
                      <a:pt x="108" y="594"/>
                      <a:pt x="110" y="590"/>
                    </a:cubicBezTo>
                    <a:cubicBezTo>
                      <a:pt x="112" y="587"/>
                      <a:pt x="107" y="563"/>
                      <a:pt x="107" y="553"/>
                    </a:cubicBezTo>
                    <a:cubicBezTo>
                      <a:pt x="107" y="543"/>
                      <a:pt x="124" y="536"/>
                      <a:pt x="125" y="531"/>
                    </a:cubicBezTo>
                    <a:cubicBezTo>
                      <a:pt x="126" y="526"/>
                      <a:pt x="132" y="490"/>
                      <a:pt x="132" y="490"/>
                    </a:cubicBezTo>
                    <a:cubicBezTo>
                      <a:pt x="132" y="490"/>
                      <a:pt x="153" y="489"/>
                      <a:pt x="156" y="478"/>
                    </a:cubicBezTo>
                    <a:cubicBezTo>
                      <a:pt x="159" y="468"/>
                      <a:pt x="129" y="457"/>
                      <a:pt x="129" y="457"/>
                    </a:cubicBezTo>
                    <a:cubicBezTo>
                      <a:pt x="129" y="457"/>
                      <a:pt x="145" y="446"/>
                      <a:pt x="146" y="436"/>
                    </a:cubicBezTo>
                    <a:cubicBezTo>
                      <a:pt x="147" y="426"/>
                      <a:pt x="129" y="419"/>
                      <a:pt x="124" y="412"/>
                    </a:cubicBezTo>
                    <a:cubicBezTo>
                      <a:pt x="119" y="405"/>
                      <a:pt x="129" y="397"/>
                      <a:pt x="137" y="388"/>
                    </a:cubicBezTo>
                    <a:cubicBezTo>
                      <a:pt x="146" y="379"/>
                      <a:pt x="120" y="385"/>
                      <a:pt x="119" y="372"/>
                    </a:cubicBezTo>
                    <a:cubicBezTo>
                      <a:pt x="118" y="358"/>
                      <a:pt x="171" y="335"/>
                      <a:pt x="171" y="335"/>
                    </a:cubicBezTo>
                    <a:cubicBezTo>
                      <a:pt x="177" y="281"/>
                      <a:pt x="177" y="281"/>
                      <a:pt x="177" y="281"/>
                    </a:cubicBezTo>
                    <a:cubicBezTo>
                      <a:pt x="170" y="271"/>
                      <a:pt x="170" y="271"/>
                      <a:pt x="170" y="271"/>
                    </a:cubicBezTo>
                    <a:cubicBezTo>
                      <a:pt x="163" y="273"/>
                      <a:pt x="155" y="274"/>
                      <a:pt x="147" y="273"/>
                    </a:cubicBezTo>
                    <a:cubicBezTo>
                      <a:pt x="136" y="272"/>
                      <a:pt x="137" y="247"/>
                      <a:pt x="137" y="247"/>
                    </a:cubicBezTo>
                    <a:cubicBezTo>
                      <a:pt x="124" y="231"/>
                      <a:pt x="124" y="231"/>
                      <a:pt x="124" y="231"/>
                    </a:cubicBezTo>
                    <a:cubicBezTo>
                      <a:pt x="124" y="231"/>
                      <a:pt x="126" y="203"/>
                      <a:pt x="124" y="192"/>
                    </a:cubicBezTo>
                    <a:cubicBezTo>
                      <a:pt x="121" y="182"/>
                      <a:pt x="93" y="171"/>
                      <a:pt x="93" y="171"/>
                    </a:cubicBezTo>
                    <a:cubicBezTo>
                      <a:pt x="93" y="155"/>
                      <a:pt x="93" y="155"/>
                      <a:pt x="93" y="155"/>
                    </a:cubicBezTo>
                    <a:cubicBezTo>
                      <a:pt x="93" y="155"/>
                      <a:pt x="89" y="152"/>
                      <a:pt x="85" y="142"/>
                    </a:cubicBezTo>
                    <a:cubicBezTo>
                      <a:pt x="81" y="134"/>
                      <a:pt x="95" y="122"/>
                      <a:pt x="95" y="122"/>
                    </a:cubicBezTo>
                    <a:cubicBezTo>
                      <a:pt x="85" y="112"/>
                      <a:pt x="85" y="112"/>
                      <a:pt x="85" y="112"/>
                    </a:cubicBezTo>
                    <a:cubicBezTo>
                      <a:pt x="85" y="112"/>
                      <a:pt x="92" y="106"/>
                      <a:pt x="96" y="94"/>
                    </a:cubicBezTo>
                    <a:cubicBezTo>
                      <a:pt x="100" y="83"/>
                      <a:pt x="66" y="71"/>
                      <a:pt x="66" y="71"/>
                    </a:cubicBezTo>
                    <a:cubicBezTo>
                      <a:pt x="57" y="21"/>
                      <a:pt x="57" y="21"/>
                      <a:pt x="57" y="21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34" y="20"/>
                      <a:pt x="22" y="29"/>
                    </a:cubicBezTo>
                    <a:cubicBezTo>
                      <a:pt x="16" y="35"/>
                      <a:pt x="7" y="40"/>
                      <a:pt x="1" y="44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69"/>
                      <a:pt x="13" y="95"/>
                      <a:pt x="18" y="114"/>
                    </a:cubicBezTo>
                    <a:cubicBezTo>
                      <a:pt x="24" y="134"/>
                      <a:pt x="23" y="162"/>
                      <a:pt x="23" y="175"/>
                    </a:cubicBezTo>
                    <a:cubicBezTo>
                      <a:pt x="23" y="187"/>
                      <a:pt x="31" y="198"/>
                      <a:pt x="32" y="220"/>
                    </a:cubicBezTo>
                    <a:cubicBezTo>
                      <a:pt x="33" y="243"/>
                      <a:pt x="33" y="279"/>
                      <a:pt x="33" y="279"/>
                    </a:cubicBezTo>
                    <a:cubicBezTo>
                      <a:pt x="19" y="286"/>
                      <a:pt x="19" y="286"/>
                      <a:pt x="19" y="286"/>
                    </a:cubicBezTo>
                    <a:cubicBezTo>
                      <a:pt x="22" y="305"/>
                      <a:pt x="22" y="305"/>
                      <a:pt x="22" y="305"/>
                    </a:cubicBezTo>
                    <a:cubicBezTo>
                      <a:pt x="37" y="314"/>
                      <a:pt x="37" y="314"/>
                      <a:pt x="37" y="314"/>
                    </a:cubicBezTo>
                    <a:cubicBezTo>
                      <a:pt x="31" y="374"/>
                      <a:pt x="31" y="374"/>
                      <a:pt x="31" y="374"/>
                    </a:cubicBezTo>
                    <a:cubicBezTo>
                      <a:pt x="45" y="400"/>
                      <a:pt x="45" y="400"/>
                      <a:pt x="45" y="400"/>
                    </a:cubicBezTo>
                    <a:cubicBezTo>
                      <a:pt x="35" y="413"/>
                      <a:pt x="35" y="413"/>
                      <a:pt x="35" y="413"/>
                    </a:cubicBezTo>
                    <a:cubicBezTo>
                      <a:pt x="41" y="453"/>
                      <a:pt x="41" y="453"/>
                      <a:pt x="41" y="453"/>
                    </a:cubicBezTo>
                    <a:cubicBezTo>
                      <a:pt x="41" y="453"/>
                      <a:pt x="47" y="456"/>
                      <a:pt x="49" y="472"/>
                    </a:cubicBezTo>
                    <a:cubicBezTo>
                      <a:pt x="51" y="488"/>
                      <a:pt x="41" y="489"/>
                      <a:pt x="41" y="489"/>
                    </a:cubicBezTo>
                    <a:cubicBezTo>
                      <a:pt x="39" y="510"/>
                      <a:pt x="39" y="510"/>
                      <a:pt x="39" y="510"/>
                    </a:cubicBezTo>
                    <a:cubicBezTo>
                      <a:pt x="45" y="519"/>
                      <a:pt x="45" y="519"/>
                      <a:pt x="45" y="519"/>
                    </a:cubicBezTo>
                    <a:cubicBezTo>
                      <a:pt x="45" y="519"/>
                      <a:pt x="39" y="523"/>
                      <a:pt x="33" y="537"/>
                    </a:cubicBezTo>
                    <a:cubicBezTo>
                      <a:pt x="27" y="550"/>
                      <a:pt x="39" y="548"/>
                      <a:pt x="39" y="548"/>
                    </a:cubicBezTo>
                    <a:cubicBezTo>
                      <a:pt x="39" y="548"/>
                      <a:pt x="42" y="557"/>
                      <a:pt x="42" y="567"/>
                    </a:cubicBezTo>
                    <a:cubicBezTo>
                      <a:pt x="42" y="578"/>
                      <a:pt x="32" y="575"/>
                      <a:pt x="32" y="594"/>
                    </a:cubicBezTo>
                    <a:cubicBezTo>
                      <a:pt x="32" y="614"/>
                      <a:pt x="47" y="613"/>
                      <a:pt x="50" y="622"/>
                    </a:cubicBezTo>
                    <a:cubicBezTo>
                      <a:pt x="54" y="631"/>
                      <a:pt x="50" y="654"/>
                      <a:pt x="50" y="654"/>
                    </a:cubicBezTo>
                    <a:cubicBezTo>
                      <a:pt x="50" y="654"/>
                      <a:pt x="43" y="652"/>
                      <a:pt x="39" y="654"/>
                    </a:cubicBezTo>
                    <a:cubicBezTo>
                      <a:pt x="35" y="656"/>
                      <a:pt x="39" y="672"/>
                      <a:pt x="45" y="691"/>
                    </a:cubicBezTo>
                    <a:cubicBezTo>
                      <a:pt x="53" y="710"/>
                      <a:pt x="64" y="739"/>
                      <a:pt x="64" y="739"/>
                    </a:cubicBezTo>
                    <a:cubicBezTo>
                      <a:pt x="64" y="739"/>
                      <a:pt x="66" y="753"/>
                      <a:pt x="73" y="758"/>
                    </a:cubicBezTo>
                    <a:cubicBezTo>
                      <a:pt x="80" y="764"/>
                      <a:pt x="76" y="793"/>
                      <a:pt x="76" y="793"/>
                    </a:cubicBezTo>
                    <a:cubicBezTo>
                      <a:pt x="73" y="811"/>
                      <a:pt x="73" y="811"/>
                      <a:pt x="73" y="811"/>
                    </a:cubicBezTo>
                    <a:cubicBezTo>
                      <a:pt x="89" y="828"/>
                      <a:pt x="89" y="828"/>
                      <a:pt x="89" y="828"/>
                    </a:cubicBezTo>
                    <a:cubicBezTo>
                      <a:pt x="89" y="828"/>
                      <a:pt x="79" y="853"/>
                      <a:pt x="79" y="867"/>
                    </a:cubicBezTo>
                    <a:cubicBezTo>
                      <a:pt x="79" y="880"/>
                      <a:pt x="79" y="909"/>
                      <a:pt x="79" y="909"/>
                    </a:cubicBezTo>
                    <a:cubicBezTo>
                      <a:pt x="64" y="933"/>
                      <a:pt x="64" y="933"/>
                      <a:pt x="64" y="933"/>
                    </a:cubicBezTo>
                    <a:cubicBezTo>
                      <a:pt x="73" y="940"/>
                      <a:pt x="73" y="940"/>
                      <a:pt x="73" y="940"/>
                    </a:cubicBezTo>
                    <a:cubicBezTo>
                      <a:pt x="73" y="940"/>
                      <a:pt x="69" y="955"/>
                      <a:pt x="69" y="964"/>
                    </a:cubicBezTo>
                    <a:cubicBezTo>
                      <a:pt x="69" y="972"/>
                      <a:pt x="64" y="1014"/>
                      <a:pt x="64" y="1014"/>
                    </a:cubicBezTo>
                    <a:cubicBezTo>
                      <a:pt x="54" y="1016"/>
                      <a:pt x="54" y="1016"/>
                      <a:pt x="54" y="1016"/>
                    </a:cubicBezTo>
                    <a:cubicBezTo>
                      <a:pt x="54" y="1029"/>
                      <a:pt x="54" y="1029"/>
                      <a:pt x="54" y="1029"/>
                    </a:cubicBezTo>
                    <a:cubicBezTo>
                      <a:pt x="69" y="1058"/>
                      <a:pt x="69" y="1058"/>
                      <a:pt x="69" y="1058"/>
                    </a:cubicBezTo>
                    <a:cubicBezTo>
                      <a:pt x="69" y="1058"/>
                      <a:pt x="69" y="1076"/>
                      <a:pt x="69" y="1086"/>
                    </a:cubicBezTo>
                    <a:cubicBezTo>
                      <a:pt x="69" y="1096"/>
                      <a:pt x="91" y="1103"/>
                      <a:pt x="97" y="1118"/>
                    </a:cubicBezTo>
                    <a:cubicBezTo>
                      <a:pt x="103" y="1133"/>
                      <a:pt x="94" y="1169"/>
                      <a:pt x="94" y="1169"/>
                    </a:cubicBezTo>
                    <a:cubicBezTo>
                      <a:pt x="103" y="1176"/>
                      <a:pt x="103" y="1176"/>
                      <a:pt x="103" y="1176"/>
                    </a:cubicBezTo>
                    <a:cubicBezTo>
                      <a:pt x="103" y="1176"/>
                      <a:pt x="103" y="1204"/>
                      <a:pt x="103" y="1215"/>
                    </a:cubicBezTo>
                    <a:cubicBezTo>
                      <a:pt x="103" y="1227"/>
                      <a:pt x="129" y="1235"/>
                      <a:pt x="129" y="1235"/>
                    </a:cubicBezTo>
                    <a:cubicBezTo>
                      <a:pt x="124" y="1247"/>
                      <a:pt x="124" y="1247"/>
                      <a:pt x="124" y="1247"/>
                    </a:cubicBezTo>
                    <a:cubicBezTo>
                      <a:pt x="150" y="1247"/>
                      <a:pt x="150" y="1247"/>
                      <a:pt x="150" y="1247"/>
                    </a:cubicBezTo>
                    <a:cubicBezTo>
                      <a:pt x="150" y="1228"/>
                      <a:pt x="150" y="1228"/>
                      <a:pt x="150" y="1228"/>
                    </a:cubicBezTo>
                    <a:cubicBezTo>
                      <a:pt x="150" y="1228"/>
                      <a:pt x="162" y="1237"/>
                      <a:pt x="170" y="1238"/>
                    </a:cubicBezTo>
                    <a:cubicBezTo>
                      <a:pt x="179" y="1239"/>
                      <a:pt x="179" y="1226"/>
                      <a:pt x="179" y="1226"/>
                    </a:cubicBezTo>
                    <a:cubicBezTo>
                      <a:pt x="185" y="1238"/>
                      <a:pt x="185" y="1238"/>
                      <a:pt x="185" y="1238"/>
                    </a:cubicBezTo>
                    <a:cubicBezTo>
                      <a:pt x="185" y="1238"/>
                      <a:pt x="168" y="1248"/>
                      <a:pt x="166" y="1259"/>
                    </a:cubicBezTo>
                    <a:cubicBezTo>
                      <a:pt x="163" y="1269"/>
                      <a:pt x="179" y="1258"/>
                      <a:pt x="185" y="1260"/>
                    </a:cubicBezTo>
                    <a:cubicBezTo>
                      <a:pt x="192" y="1264"/>
                      <a:pt x="190" y="1277"/>
                      <a:pt x="190" y="1277"/>
                    </a:cubicBezTo>
                    <a:cubicBezTo>
                      <a:pt x="172" y="1275"/>
                      <a:pt x="172" y="1275"/>
                      <a:pt x="172" y="1275"/>
                    </a:cubicBezTo>
                    <a:cubicBezTo>
                      <a:pt x="183" y="1287"/>
                      <a:pt x="183" y="1287"/>
                      <a:pt x="183" y="1287"/>
                    </a:cubicBezTo>
                    <a:cubicBezTo>
                      <a:pt x="176" y="1295"/>
                      <a:pt x="176" y="1295"/>
                      <a:pt x="176" y="1295"/>
                    </a:cubicBezTo>
                    <a:cubicBezTo>
                      <a:pt x="187" y="1312"/>
                      <a:pt x="187" y="1312"/>
                      <a:pt x="187" y="1312"/>
                    </a:cubicBezTo>
                    <a:cubicBezTo>
                      <a:pt x="187" y="1312"/>
                      <a:pt x="181" y="1320"/>
                      <a:pt x="174" y="1329"/>
                    </a:cubicBezTo>
                    <a:cubicBezTo>
                      <a:pt x="167" y="1338"/>
                      <a:pt x="204" y="1347"/>
                      <a:pt x="204" y="1347"/>
                    </a:cubicBezTo>
                    <a:cubicBezTo>
                      <a:pt x="204" y="1347"/>
                      <a:pt x="197" y="1353"/>
                      <a:pt x="192" y="1357"/>
                    </a:cubicBezTo>
                    <a:cubicBezTo>
                      <a:pt x="187" y="1359"/>
                      <a:pt x="194" y="1370"/>
                      <a:pt x="204" y="1375"/>
                    </a:cubicBezTo>
                    <a:cubicBezTo>
                      <a:pt x="212" y="1379"/>
                      <a:pt x="225" y="1376"/>
                      <a:pt x="225" y="1376"/>
                    </a:cubicBezTo>
                    <a:cubicBezTo>
                      <a:pt x="230" y="1399"/>
                      <a:pt x="230" y="1399"/>
                      <a:pt x="230" y="1399"/>
                    </a:cubicBezTo>
                    <a:cubicBezTo>
                      <a:pt x="230" y="1399"/>
                      <a:pt x="210" y="1411"/>
                      <a:pt x="206" y="1418"/>
                    </a:cubicBezTo>
                    <a:cubicBezTo>
                      <a:pt x="201" y="1425"/>
                      <a:pt x="219" y="1426"/>
                      <a:pt x="219" y="1426"/>
                    </a:cubicBezTo>
                    <a:cubicBezTo>
                      <a:pt x="219" y="1426"/>
                      <a:pt x="242" y="1430"/>
                      <a:pt x="242" y="1437"/>
                    </a:cubicBezTo>
                    <a:cubicBezTo>
                      <a:pt x="242" y="1444"/>
                      <a:pt x="228" y="1438"/>
                      <a:pt x="218" y="1433"/>
                    </a:cubicBezTo>
                    <a:cubicBezTo>
                      <a:pt x="209" y="1428"/>
                      <a:pt x="208" y="1443"/>
                      <a:pt x="208" y="1443"/>
                    </a:cubicBezTo>
                    <a:cubicBezTo>
                      <a:pt x="226" y="1447"/>
                      <a:pt x="226" y="1447"/>
                      <a:pt x="226" y="1447"/>
                    </a:cubicBezTo>
                    <a:cubicBezTo>
                      <a:pt x="212" y="1453"/>
                      <a:pt x="212" y="1453"/>
                      <a:pt x="212" y="1453"/>
                    </a:cubicBezTo>
                    <a:cubicBezTo>
                      <a:pt x="213" y="1470"/>
                      <a:pt x="213" y="1470"/>
                      <a:pt x="213" y="1470"/>
                    </a:cubicBezTo>
                    <a:cubicBezTo>
                      <a:pt x="213" y="1470"/>
                      <a:pt x="229" y="1462"/>
                      <a:pt x="222" y="1482"/>
                    </a:cubicBezTo>
                    <a:cubicBezTo>
                      <a:pt x="215" y="1502"/>
                      <a:pt x="206" y="1474"/>
                      <a:pt x="206" y="1474"/>
                    </a:cubicBezTo>
                    <a:cubicBezTo>
                      <a:pt x="183" y="1475"/>
                      <a:pt x="183" y="1475"/>
                      <a:pt x="183" y="1475"/>
                    </a:cubicBezTo>
                    <a:cubicBezTo>
                      <a:pt x="198" y="1468"/>
                      <a:pt x="198" y="1468"/>
                      <a:pt x="198" y="1468"/>
                    </a:cubicBezTo>
                    <a:cubicBezTo>
                      <a:pt x="198" y="1468"/>
                      <a:pt x="182" y="1451"/>
                      <a:pt x="179" y="1452"/>
                    </a:cubicBezTo>
                    <a:cubicBezTo>
                      <a:pt x="175" y="1453"/>
                      <a:pt x="178" y="1461"/>
                      <a:pt x="178" y="1461"/>
                    </a:cubicBezTo>
                    <a:cubicBezTo>
                      <a:pt x="172" y="1455"/>
                      <a:pt x="172" y="1455"/>
                      <a:pt x="172" y="1455"/>
                    </a:cubicBezTo>
                    <a:cubicBezTo>
                      <a:pt x="148" y="1462"/>
                      <a:pt x="148" y="1462"/>
                      <a:pt x="148" y="1462"/>
                    </a:cubicBezTo>
                    <a:cubicBezTo>
                      <a:pt x="169" y="1467"/>
                      <a:pt x="169" y="1467"/>
                      <a:pt x="169" y="1467"/>
                    </a:cubicBezTo>
                    <a:cubicBezTo>
                      <a:pt x="169" y="1467"/>
                      <a:pt x="165" y="1470"/>
                      <a:pt x="161" y="1476"/>
                    </a:cubicBezTo>
                    <a:cubicBezTo>
                      <a:pt x="158" y="1481"/>
                      <a:pt x="142" y="1487"/>
                      <a:pt x="141" y="1496"/>
                    </a:cubicBezTo>
                    <a:cubicBezTo>
                      <a:pt x="140" y="1505"/>
                      <a:pt x="160" y="1509"/>
                      <a:pt x="162" y="1507"/>
                    </a:cubicBezTo>
                    <a:cubicBezTo>
                      <a:pt x="166" y="1505"/>
                      <a:pt x="155" y="1497"/>
                      <a:pt x="155" y="1497"/>
                    </a:cubicBezTo>
                    <a:cubicBezTo>
                      <a:pt x="169" y="1494"/>
                      <a:pt x="169" y="1494"/>
                      <a:pt x="169" y="1494"/>
                    </a:cubicBezTo>
                    <a:cubicBezTo>
                      <a:pt x="169" y="1494"/>
                      <a:pt x="176" y="1499"/>
                      <a:pt x="180" y="1502"/>
                    </a:cubicBezTo>
                    <a:cubicBezTo>
                      <a:pt x="183" y="1507"/>
                      <a:pt x="206" y="1504"/>
                      <a:pt x="206" y="1504"/>
                    </a:cubicBezTo>
                    <a:cubicBezTo>
                      <a:pt x="206" y="1504"/>
                      <a:pt x="220" y="1511"/>
                      <a:pt x="226" y="1519"/>
                    </a:cubicBezTo>
                    <a:cubicBezTo>
                      <a:pt x="232" y="1526"/>
                      <a:pt x="213" y="1534"/>
                      <a:pt x="213" y="1534"/>
                    </a:cubicBezTo>
                    <a:cubicBezTo>
                      <a:pt x="219" y="1544"/>
                      <a:pt x="219" y="1544"/>
                      <a:pt x="219" y="1544"/>
                    </a:cubicBezTo>
                    <a:cubicBezTo>
                      <a:pt x="231" y="1540"/>
                      <a:pt x="231" y="1540"/>
                      <a:pt x="231" y="1540"/>
                    </a:cubicBezTo>
                    <a:cubicBezTo>
                      <a:pt x="231" y="1550"/>
                      <a:pt x="231" y="1550"/>
                      <a:pt x="231" y="1550"/>
                    </a:cubicBezTo>
                    <a:cubicBezTo>
                      <a:pt x="242" y="1555"/>
                      <a:pt x="242" y="1555"/>
                      <a:pt x="242" y="1555"/>
                    </a:cubicBezTo>
                    <a:cubicBezTo>
                      <a:pt x="247" y="1540"/>
                      <a:pt x="247" y="1540"/>
                      <a:pt x="247" y="1540"/>
                    </a:cubicBezTo>
                    <a:cubicBezTo>
                      <a:pt x="256" y="1555"/>
                      <a:pt x="256" y="1555"/>
                      <a:pt x="256" y="1555"/>
                    </a:cubicBezTo>
                    <a:cubicBezTo>
                      <a:pt x="256" y="1555"/>
                      <a:pt x="274" y="1555"/>
                      <a:pt x="272" y="1569"/>
                    </a:cubicBezTo>
                    <a:cubicBezTo>
                      <a:pt x="269" y="1582"/>
                      <a:pt x="248" y="1567"/>
                      <a:pt x="240" y="1565"/>
                    </a:cubicBezTo>
                    <a:cubicBezTo>
                      <a:pt x="232" y="1564"/>
                      <a:pt x="238" y="1577"/>
                      <a:pt x="238" y="1577"/>
                    </a:cubicBezTo>
                    <a:cubicBezTo>
                      <a:pt x="238" y="1577"/>
                      <a:pt x="258" y="1584"/>
                      <a:pt x="259" y="1598"/>
                    </a:cubicBezTo>
                    <a:cubicBezTo>
                      <a:pt x="260" y="1612"/>
                      <a:pt x="246" y="1607"/>
                      <a:pt x="246" y="1607"/>
                    </a:cubicBezTo>
                    <a:cubicBezTo>
                      <a:pt x="255" y="1619"/>
                      <a:pt x="255" y="1619"/>
                      <a:pt x="255" y="1619"/>
                    </a:cubicBezTo>
                    <a:cubicBezTo>
                      <a:pt x="263" y="1642"/>
                      <a:pt x="263" y="1642"/>
                      <a:pt x="263" y="1642"/>
                    </a:cubicBezTo>
                    <a:cubicBezTo>
                      <a:pt x="272" y="1614"/>
                      <a:pt x="272" y="1614"/>
                      <a:pt x="272" y="1614"/>
                    </a:cubicBezTo>
                    <a:cubicBezTo>
                      <a:pt x="272" y="1633"/>
                      <a:pt x="272" y="1633"/>
                      <a:pt x="272" y="1633"/>
                    </a:cubicBezTo>
                    <a:cubicBezTo>
                      <a:pt x="284" y="1648"/>
                      <a:pt x="284" y="1648"/>
                      <a:pt x="284" y="1648"/>
                    </a:cubicBezTo>
                    <a:cubicBezTo>
                      <a:pt x="269" y="1648"/>
                      <a:pt x="269" y="1648"/>
                      <a:pt x="269" y="1648"/>
                    </a:cubicBezTo>
                    <a:cubicBezTo>
                      <a:pt x="272" y="1661"/>
                      <a:pt x="272" y="1661"/>
                      <a:pt x="272" y="1661"/>
                    </a:cubicBezTo>
                    <a:cubicBezTo>
                      <a:pt x="286" y="1662"/>
                      <a:pt x="286" y="1662"/>
                      <a:pt x="286" y="1662"/>
                    </a:cubicBezTo>
                    <a:cubicBezTo>
                      <a:pt x="278" y="1669"/>
                      <a:pt x="278" y="1669"/>
                      <a:pt x="278" y="1669"/>
                    </a:cubicBezTo>
                    <a:cubicBezTo>
                      <a:pt x="297" y="1675"/>
                      <a:pt x="297" y="1675"/>
                      <a:pt x="297" y="1675"/>
                    </a:cubicBezTo>
                    <a:cubicBezTo>
                      <a:pt x="284" y="1683"/>
                      <a:pt x="284" y="1683"/>
                      <a:pt x="284" y="1683"/>
                    </a:cubicBezTo>
                    <a:cubicBezTo>
                      <a:pt x="303" y="1690"/>
                      <a:pt x="303" y="1690"/>
                      <a:pt x="303" y="1690"/>
                    </a:cubicBezTo>
                    <a:cubicBezTo>
                      <a:pt x="298" y="1699"/>
                      <a:pt x="298" y="1699"/>
                      <a:pt x="298" y="1699"/>
                    </a:cubicBezTo>
                    <a:cubicBezTo>
                      <a:pt x="309" y="1702"/>
                      <a:pt x="309" y="1702"/>
                      <a:pt x="309" y="1702"/>
                    </a:cubicBezTo>
                    <a:cubicBezTo>
                      <a:pt x="309" y="1702"/>
                      <a:pt x="311" y="1680"/>
                      <a:pt x="318" y="1692"/>
                    </a:cubicBezTo>
                    <a:cubicBezTo>
                      <a:pt x="325" y="1702"/>
                      <a:pt x="316" y="1708"/>
                      <a:pt x="310" y="1712"/>
                    </a:cubicBezTo>
                    <a:cubicBezTo>
                      <a:pt x="304" y="1715"/>
                      <a:pt x="310" y="1722"/>
                      <a:pt x="310" y="1722"/>
                    </a:cubicBezTo>
                    <a:cubicBezTo>
                      <a:pt x="329" y="1723"/>
                      <a:pt x="329" y="1723"/>
                      <a:pt x="329" y="1723"/>
                    </a:cubicBezTo>
                    <a:cubicBezTo>
                      <a:pt x="329" y="1723"/>
                      <a:pt x="330" y="1733"/>
                      <a:pt x="336" y="1738"/>
                    </a:cubicBezTo>
                    <a:cubicBezTo>
                      <a:pt x="342" y="1742"/>
                      <a:pt x="358" y="1751"/>
                      <a:pt x="358" y="1751"/>
                    </a:cubicBezTo>
                    <a:cubicBezTo>
                      <a:pt x="355" y="1730"/>
                      <a:pt x="355" y="1730"/>
                      <a:pt x="355" y="1730"/>
                    </a:cubicBezTo>
                    <a:cubicBezTo>
                      <a:pt x="355" y="1730"/>
                      <a:pt x="375" y="1738"/>
                      <a:pt x="391" y="1748"/>
                    </a:cubicBezTo>
                    <a:cubicBezTo>
                      <a:pt x="405" y="1758"/>
                      <a:pt x="393" y="1767"/>
                      <a:pt x="393" y="1767"/>
                    </a:cubicBezTo>
                    <a:cubicBezTo>
                      <a:pt x="403" y="1774"/>
                      <a:pt x="403" y="1774"/>
                      <a:pt x="403" y="1774"/>
                    </a:cubicBezTo>
                    <a:cubicBezTo>
                      <a:pt x="402" y="1787"/>
                      <a:pt x="402" y="1787"/>
                      <a:pt x="402" y="1787"/>
                    </a:cubicBezTo>
                    <a:cubicBezTo>
                      <a:pt x="440" y="1787"/>
                      <a:pt x="440" y="1787"/>
                      <a:pt x="440" y="1787"/>
                    </a:cubicBezTo>
                    <a:cubicBezTo>
                      <a:pt x="444" y="1793"/>
                      <a:pt x="444" y="1793"/>
                      <a:pt x="444" y="1793"/>
                    </a:cubicBezTo>
                    <a:cubicBezTo>
                      <a:pt x="424" y="1793"/>
                      <a:pt x="424" y="1793"/>
                      <a:pt x="424" y="1793"/>
                    </a:cubicBezTo>
                    <a:cubicBezTo>
                      <a:pt x="417" y="1801"/>
                      <a:pt x="417" y="1801"/>
                      <a:pt x="417" y="1801"/>
                    </a:cubicBezTo>
                    <a:cubicBezTo>
                      <a:pt x="404" y="1802"/>
                      <a:pt x="404" y="1802"/>
                      <a:pt x="404" y="1802"/>
                    </a:cubicBezTo>
                    <a:cubicBezTo>
                      <a:pt x="394" y="1813"/>
                      <a:pt x="394" y="1813"/>
                      <a:pt x="394" y="1813"/>
                    </a:cubicBezTo>
                    <a:cubicBezTo>
                      <a:pt x="413" y="1816"/>
                      <a:pt x="413" y="1816"/>
                      <a:pt x="413" y="1816"/>
                    </a:cubicBezTo>
                    <a:cubicBezTo>
                      <a:pt x="409" y="1826"/>
                      <a:pt x="409" y="1826"/>
                      <a:pt x="409" y="1826"/>
                    </a:cubicBezTo>
                    <a:cubicBezTo>
                      <a:pt x="424" y="1824"/>
                      <a:pt x="424" y="1824"/>
                      <a:pt x="424" y="1824"/>
                    </a:cubicBezTo>
                    <a:cubicBezTo>
                      <a:pt x="426" y="1812"/>
                      <a:pt x="426" y="1812"/>
                      <a:pt x="426" y="1812"/>
                    </a:cubicBezTo>
                    <a:cubicBezTo>
                      <a:pt x="441" y="1817"/>
                      <a:pt x="441" y="1817"/>
                      <a:pt x="441" y="1817"/>
                    </a:cubicBezTo>
                    <a:cubicBezTo>
                      <a:pt x="441" y="1817"/>
                      <a:pt x="458" y="1793"/>
                      <a:pt x="467" y="1800"/>
                    </a:cubicBezTo>
                    <a:cubicBezTo>
                      <a:pt x="476" y="1807"/>
                      <a:pt x="448" y="1831"/>
                      <a:pt x="448" y="1831"/>
                    </a:cubicBezTo>
                    <a:cubicBezTo>
                      <a:pt x="448" y="1831"/>
                      <a:pt x="446" y="1824"/>
                      <a:pt x="437" y="1825"/>
                    </a:cubicBezTo>
                    <a:cubicBezTo>
                      <a:pt x="429" y="1826"/>
                      <a:pt x="434" y="1836"/>
                      <a:pt x="434" y="1836"/>
                    </a:cubicBezTo>
                    <a:cubicBezTo>
                      <a:pt x="423" y="1836"/>
                      <a:pt x="423" y="1836"/>
                      <a:pt x="423" y="1836"/>
                    </a:cubicBezTo>
                    <a:cubicBezTo>
                      <a:pt x="414" y="1834"/>
                      <a:pt x="402" y="1844"/>
                      <a:pt x="402" y="1844"/>
                    </a:cubicBezTo>
                    <a:cubicBezTo>
                      <a:pt x="411" y="1850"/>
                      <a:pt x="411" y="1850"/>
                      <a:pt x="411" y="1850"/>
                    </a:cubicBezTo>
                    <a:cubicBezTo>
                      <a:pt x="413" y="1867"/>
                      <a:pt x="413" y="1867"/>
                      <a:pt x="413" y="1867"/>
                    </a:cubicBezTo>
                    <a:cubicBezTo>
                      <a:pt x="432" y="1858"/>
                      <a:pt x="432" y="1858"/>
                      <a:pt x="432" y="1858"/>
                    </a:cubicBezTo>
                    <a:cubicBezTo>
                      <a:pt x="432" y="1858"/>
                      <a:pt x="437" y="1868"/>
                      <a:pt x="443" y="1867"/>
                    </a:cubicBezTo>
                    <a:cubicBezTo>
                      <a:pt x="447" y="1866"/>
                      <a:pt x="448" y="1847"/>
                      <a:pt x="457" y="1842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5" name="Chile">
                <a:extLst>
                  <a:ext uri="{FF2B5EF4-FFF2-40B4-BE49-F238E27FC236}">
                    <a16:creationId xmlns:a16="http://schemas.microsoft.com/office/drawing/2014/main" id="{95A1B067-EAB6-4162-A788-991BA6C201CA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7372612" y="6549836"/>
                <a:ext cx="0" cy="75544"/>
              </a:xfrm>
              <a:prstGeom prst="line">
                <a:avLst/>
              </a:prstGeom>
              <a:no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6" name="Chile">
                <a:extLst>
                  <a:ext uri="{FF2B5EF4-FFF2-40B4-BE49-F238E27FC236}">
                    <a16:creationId xmlns:a16="http://schemas.microsoft.com/office/drawing/2014/main" id="{4A060AE2-0B87-4699-9D7A-BF866AB753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72612" y="6623393"/>
                <a:ext cx="121722" cy="19880"/>
              </a:xfrm>
              <a:custGeom>
                <a:avLst/>
                <a:gdLst>
                  <a:gd name="T0" fmla="*/ 0 w 168"/>
                  <a:gd name="T1" fmla="*/ 0 h 26"/>
                  <a:gd name="T2" fmla="*/ 0 w 168"/>
                  <a:gd name="T3" fmla="*/ 5 h 26"/>
                  <a:gd name="T4" fmla="*/ 32 w 168"/>
                  <a:gd name="T5" fmla="*/ 7 h 26"/>
                  <a:gd name="T6" fmla="*/ 70 w 168"/>
                  <a:gd name="T7" fmla="*/ 8 h 26"/>
                  <a:gd name="T8" fmla="*/ 108 w 168"/>
                  <a:gd name="T9" fmla="*/ 7 h 26"/>
                  <a:gd name="T10" fmla="*/ 127 w 168"/>
                  <a:gd name="T11" fmla="*/ 26 h 26"/>
                  <a:gd name="T12" fmla="*/ 154 w 168"/>
                  <a:gd name="T13" fmla="*/ 16 h 26"/>
                  <a:gd name="T14" fmla="*/ 168 w 168"/>
                  <a:gd name="T15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8" h="26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21" y="7"/>
                      <a:pt x="32" y="7"/>
                    </a:cubicBezTo>
                    <a:cubicBezTo>
                      <a:pt x="44" y="7"/>
                      <a:pt x="57" y="10"/>
                      <a:pt x="70" y="8"/>
                    </a:cubicBezTo>
                    <a:cubicBezTo>
                      <a:pt x="82" y="6"/>
                      <a:pt x="99" y="5"/>
                      <a:pt x="108" y="7"/>
                    </a:cubicBezTo>
                    <a:cubicBezTo>
                      <a:pt x="117" y="9"/>
                      <a:pt x="124" y="19"/>
                      <a:pt x="127" y="26"/>
                    </a:cubicBezTo>
                    <a:cubicBezTo>
                      <a:pt x="127" y="26"/>
                      <a:pt x="138" y="12"/>
                      <a:pt x="154" y="16"/>
                    </a:cubicBezTo>
                    <a:cubicBezTo>
                      <a:pt x="154" y="16"/>
                      <a:pt x="164" y="19"/>
                      <a:pt x="168" y="24"/>
                    </a:cubicBezTo>
                  </a:path>
                </a:pathLst>
              </a:custGeom>
              <a:solidFill>
                <a:srgbClr val="89D329"/>
              </a:solidFill>
              <a:ln w="0" cap="flat" cmpd="sng" algn="ctr">
                <a:solidFill>
                  <a:srgbClr val="C6C6C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7" name="Chile">
                <a:extLst>
                  <a:ext uri="{FF2B5EF4-FFF2-40B4-BE49-F238E27FC236}">
                    <a16:creationId xmlns:a16="http://schemas.microsoft.com/office/drawing/2014/main" id="{E837433B-5392-45E0-835E-80F7AF1BEA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62636" y="6533933"/>
                <a:ext cx="9977" cy="15904"/>
              </a:xfrm>
              <a:custGeom>
                <a:avLst/>
                <a:gdLst>
                  <a:gd name="T0" fmla="*/ 5 w 5"/>
                  <a:gd name="T1" fmla="*/ 8 h 8"/>
                  <a:gd name="T2" fmla="*/ 5 w 5"/>
                  <a:gd name="T3" fmla="*/ 7 h 8"/>
                  <a:gd name="T4" fmla="*/ 0 w 5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lnTo>
                      <a:pt x="5" y="7"/>
                    </a:lnTo>
                    <a:lnTo>
                      <a:pt x="0" y="0"/>
                    </a:lnTo>
                  </a:path>
                </a:pathLst>
              </a:custGeom>
              <a:noFill/>
              <a:ln w="0" cap="flat" cmpd="sng" algn="ctr">
                <a:solidFill>
                  <a:srgbClr val="C6C6C6"/>
                </a:solidFill>
                <a:prstDash val="solid"/>
                <a:miter lim="800000"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60" name="Paraguay">
              <a:extLst>
                <a:ext uri="{FF2B5EF4-FFF2-40B4-BE49-F238E27FC236}">
                  <a16:creationId xmlns:a16="http://schemas.microsoft.com/office/drawing/2014/main" id="{6D04C2C5-8770-4865-A13D-D92AB98EE034}"/>
                </a:ext>
              </a:extLst>
            </p:cNvPr>
            <p:cNvSpPr>
              <a:spLocks/>
            </p:cNvSpPr>
            <p:nvPr/>
          </p:nvSpPr>
          <p:spPr bwMode="gray">
            <a:xfrm>
              <a:off x="8997910" y="3894772"/>
              <a:ext cx="430981" cy="481390"/>
            </a:xfrm>
            <a:custGeom>
              <a:avLst/>
              <a:gdLst>
                <a:gd name="T0" fmla="*/ 326 w 407"/>
                <a:gd name="T1" fmla="*/ 441 h 452"/>
                <a:gd name="T2" fmla="*/ 333 w 407"/>
                <a:gd name="T3" fmla="*/ 452 h 452"/>
                <a:gd name="T4" fmla="*/ 342 w 407"/>
                <a:gd name="T5" fmla="*/ 435 h 452"/>
                <a:gd name="T6" fmla="*/ 356 w 407"/>
                <a:gd name="T7" fmla="*/ 439 h 452"/>
                <a:gd name="T8" fmla="*/ 369 w 407"/>
                <a:gd name="T9" fmla="*/ 415 h 452"/>
                <a:gd name="T10" fmla="*/ 399 w 407"/>
                <a:gd name="T11" fmla="*/ 390 h 452"/>
                <a:gd name="T12" fmla="*/ 399 w 407"/>
                <a:gd name="T13" fmla="*/ 344 h 452"/>
                <a:gd name="T14" fmla="*/ 396 w 407"/>
                <a:gd name="T15" fmla="*/ 331 h 452"/>
                <a:gd name="T16" fmla="*/ 399 w 407"/>
                <a:gd name="T17" fmla="*/ 311 h 452"/>
                <a:gd name="T18" fmla="*/ 405 w 407"/>
                <a:gd name="T19" fmla="*/ 276 h 452"/>
                <a:gd name="T20" fmla="*/ 388 w 407"/>
                <a:gd name="T21" fmla="*/ 244 h 452"/>
                <a:gd name="T22" fmla="*/ 358 w 407"/>
                <a:gd name="T23" fmla="*/ 254 h 452"/>
                <a:gd name="T24" fmla="*/ 338 w 407"/>
                <a:gd name="T25" fmla="*/ 211 h 452"/>
                <a:gd name="T26" fmla="*/ 333 w 407"/>
                <a:gd name="T27" fmla="*/ 166 h 452"/>
                <a:gd name="T28" fmla="*/ 296 w 407"/>
                <a:gd name="T29" fmla="*/ 161 h 452"/>
                <a:gd name="T30" fmla="*/ 221 w 407"/>
                <a:gd name="T31" fmla="*/ 148 h 452"/>
                <a:gd name="T32" fmla="*/ 220 w 407"/>
                <a:gd name="T33" fmla="*/ 94 h 452"/>
                <a:gd name="T34" fmla="*/ 211 w 407"/>
                <a:gd name="T35" fmla="*/ 86 h 452"/>
                <a:gd name="T36" fmla="*/ 211 w 407"/>
                <a:gd name="T37" fmla="*/ 66 h 452"/>
                <a:gd name="T38" fmla="*/ 200 w 407"/>
                <a:gd name="T39" fmla="*/ 51 h 452"/>
                <a:gd name="T40" fmla="*/ 187 w 407"/>
                <a:gd name="T41" fmla="*/ 28 h 452"/>
                <a:gd name="T42" fmla="*/ 152 w 407"/>
                <a:gd name="T43" fmla="*/ 0 h 452"/>
                <a:gd name="T44" fmla="*/ 99 w 407"/>
                <a:gd name="T45" fmla="*/ 9 h 452"/>
                <a:gd name="T46" fmla="*/ 30 w 407"/>
                <a:gd name="T47" fmla="*/ 21 h 452"/>
                <a:gd name="T48" fmla="*/ 26 w 407"/>
                <a:gd name="T49" fmla="*/ 40 h 452"/>
                <a:gd name="T50" fmla="*/ 7 w 407"/>
                <a:gd name="T51" fmla="*/ 56 h 452"/>
                <a:gd name="T52" fmla="*/ 16 w 407"/>
                <a:gd name="T53" fmla="*/ 89 h 452"/>
                <a:gd name="T54" fmla="*/ 10 w 407"/>
                <a:gd name="T55" fmla="*/ 163 h 452"/>
                <a:gd name="T56" fmla="*/ 23 w 407"/>
                <a:gd name="T57" fmla="*/ 175 h 452"/>
                <a:gd name="T58" fmla="*/ 48 w 407"/>
                <a:gd name="T59" fmla="*/ 209 h 452"/>
                <a:gd name="T60" fmla="*/ 84 w 407"/>
                <a:gd name="T61" fmla="*/ 231 h 452"/>
                <a:gd name="T62" fmla="*/ 88 w 407"/>
                <a:gd name="T63" fmla="*/ 245 h 452"/>
                <a:gd name="T64" fmla="*/ 133 w 407"/>
                <a:gd name="T65" fmla="*/ 261 h 452"/>
                <a:gd name="T66" fmla="*/ 164 w 407"/>
                <a:gd name="T67" fmla="*/ 277 h 452"/>
                <a:gd name="T68" fmla="*/ 220 w 407"/>
                <a:gd name="T69" fmla="*/ 306 h 452"/>
                <a:gd name="T70" fmla="*/ 258 w 407"/>
                <a:gd name="T71" fmla="*/ 322 h 452"/>
                <a:gd name="T72" fmla="*/ 246 w 407"/>
                <a:gd name="T73" fmla="*/ 347 h 452"/>
                <a:gd name="T74" fmla="*/ 255 w 407"/>
                <a:gd name="T75" fmla="*/ 362 h 452"/>
                <a:gd name="T76" fmla="*/ 239 w 407"/>
                <a:gd name="T77" fmla="*/ 369 h 452"/>
                <a:gd name="T78" fmla="*/ 239 w 407"/>
                <a:gd name="T79" fmla="*/ 391 h 452"/>
                <a:gd name="T80" fmla="*/ 224 w 407"/>
                <a:gd name="T81" fmla="*/ 425 h 452"/>
                <a:gd name="T82" fmla="*/ 254 w 407"/>
                <a:gd name="T83" fmla="*/ 425 h 452"/>
                <a:gd name="T84" fmla="*/ 287 w 407"/>
                <a:gd name="T85" fmla="*/ 439 h 452"/>
                <a:gd name="T86" fmla="*/ 326 w 407"/>
                <a:gd name="T87" fmla="*/ 441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07" h="452">
                  <a:moveTo>
                    <a:pt x="326" y="441"/>
                  </a:moveTo>
                  <a:cubicBezTo>
                    <a:pt x="333" y="452"/>
                    <a:pt x="333" y="452"/>
                    <a:pt x="333" y="452"/>
                  </a:cubicBezTo>
                  <a:cubicBezTo>
                    <a:pt x="333" y="452"/>
                    <a:pt x="333" y="433"/>
                    <a:pt x="342" y="435"/>
                  </a:cubicBezTo>
                  <a:cubicBezTo>
                    <a:pt x="351" y="437"/>
                    <a:pt x="352" y="446"/>
                    <a:pt x="356" y="439"/>
                  </a:cubicBezTo>
                  <a:cubicBezTo>
                    <a:pt x="360" y="432"/>
                    <a:pt x="362" y="415"/>
                    <a:pt x="369" y="415"/>
                  </a:cubicBezTo>
                  <a:cubicBezTo>
                    <a:pt x="376" y="415"/>
                    <a:pt x="397" y="401"/>
                    <a:pt x="399" y="390"/>
                  </a:cubicBezTo>
                  <a:cubicBezTo>
                    <a:pt x="401" y="379"/>
                    <a:pt x="399" y="344"/>
                    <a:pt x="399" y="344"/>
                  </a:cubicBezTo>
                  <a:cubicBezTo>
                    <a:pt x="396" y="331"/>
                    <a:pt x="396" y="331"/>
                    <a:pt x="396" y="331"/>
                  </a:cubicBezTo>
                  <a:cubicBezTo>
                    <a:pt x="396" y="331"/>
                    <a:pt x="397" y="316"/>
                    <a:pt x="399" y="311"/>
                  </a:cubicBezTo>
                  <a:cubicBezTo>
                    <a:pt x="401" y="306"/>
                    <a:pt x="403" y="296"/>
                    <a:pt x="405" y="276"/>
                  </a:cubicBezTo>
                  <a:cubicBezTo>
                    <a:pt x="407" y="256"/>
                    <a:pt x="403" y="248"/>
                    <a:pt x="388" y="244"/>
                  </a:cubicBezTo>
                  <a:cubicBezTo>
                    <a:pt x="373" y="240"/>
                    <a:pt x="369" y="256"/>
                    <a:pt x="358" y="254"/>
                  </a:cubicBezTo>
                  <a:cubicBezTo>
                    <a:pt x="347" y="252"/>
                    <a:pt x="343" y="231"/>
                    <a:pt x="338" y="211"/>
                  </a:cubicBezTo>
                  <a:cubicBezTo>
                    <a:pt x="333" y="191"/>
                    <a:pt x="337" y="174"/>
                    <a:pt x="333" y="166"/>
                  </a:cubicBezTo>
                  <a:cubicBezTo>
                    <a:pt x="329" y="158"/>
                    <a:pt x="311" y="158"/>
                    <a:pt x="296" y="161"/>
                  </a:cubicBezTo>
                  <a:cubicBezTo>
                    <a:pt x="281" y="164"/>
                    <a:pt x="237" y="157"/>
                    <a:pt x="221" y="148"/>
                  </a:cubicBezTo>
                  <a:cubicBezTo>
                    <a:pt x="205" y="139"/>
                    <a:pt x="220" y="103"/>
                    <a:pt x="220" y="94"/>
                  </a:cubicBezTo>
                  <a:cubicBezTo>
                    <a:pt x="220" y="85"/>
                    <a:pt x="215" y="90"/>
                    <a:pt x="211" y="86"/>
                  </a:cubicBezTo>
                  <a:cubicBezTo>
                    <a:pt x="207" y="82"/>
                    <a:pt x="213" y="73"/>
                    <a:pt x="211" y="66"/>
                  </a:cubicBezTo>
                  <a:cubicBezTo>
                    <a:pt x="209" y="59"/>
                    <a:pt x="200" y="57"/>
                    <a:pt x="200" y="51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14" y="52"/>
                    <a:pt x="7" y="56"/>
                  </a:cubicBezTo>
                  <a:cubicBezTo>
                    <a:pt x="0" y="60"/>
                    <a:pt x="15" y="82"/>
                    <a:pt x="16" y="89"/>
                  </a:cubicBezTo>
                  <a:cubicBezTo>
                    <a:pt x="18" y="95"/>
                    <a:pt x="10" y="163"/>
                    <a:pt x="10" y="163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23" y="175"/>
                    <a:pt x="39" y="204"/>
                    <a:pt x="48" y="209"/>
                  </a:cubicBezTo>
                  <a:cubicBezTo>
                    <a:pt x="57" y="214"/>
                    <a:pt x="84" y="231"/>
                    <a:pt x="84" y="231"/>
                  </a:cubicBezTo>
                  <a:cubicBezTo>
                    <a:pt x="88" y="245"/>
                    <a:pt x="88" y="245"/>
                    <a:pt x="88" y="245"/>
                  </a:cubicBezTo>
                  <a:cubicBezTo>
                    <a:pt x="88" y="245"/>
                    <a:pt x="123" y="265"/>
                    <a:pt x="133" y="261"/>
                  </a:cubicBezTo>
                  <a:cubicBezTo>
                    <a:pt x="143" y="257"/>
                    <a:pt x="164" y="277"/>
                    <a:pt x="164" y="277"/>
                  </a:cubicBezTo>
                  <a:cubicBezTo>
                    <a:pt x="164" y="277"/>
                    <a:pt x="214" y="305"/>
                    <a:pt x="220" y="306"/>
                  </a:cubicBezTo>
                  <a:cubicBezTo>
                    <a:pt x="226" y="307"/>
                    <a:pt x="260" y="314"/>
                    <a:pt x="258" y="322"/>
                  </a:cubicBezTo>
                  <a:cubicBezTo>
                    <a:pt x="256" y="330"/>
                    <a:pt x="246" y="347"/>
                    <a:pt x="246" y="347"/>
                  </a:cubicBezTo>
                  <a:cubicBezTo>
                    <a:pt x="246" y="347"/>
                    <a:pt x="259" y="355"/>
                    <a:pt x="255" y="362"/>
                  </a:cubicBezTo>
                  <a:cubicBezTo>
                    <a:pt x="251" y="369"/>
                    <a:pt x="239" y="369"/>
                    <a:pt x="239" y="369"/>
                  </a:cubicBezTo>
                  <a:cubicBezTo>
                    <a:pt x="239" y="391"/>
                    <a:pt x="239" y="391"/>
                    <a:pt x="239" y="391"/>
                  </a:cubicBezTo>
                  <a:cubicBezTo>
                    <a:pt x="239" y="391"/>
                    <a:pt x="219" y="418"/>
                    <a:pt x="224" y="425"/>
                  </a:cubicBezTo>
                  <a:cubicBezTo>
                    <a:pt x="229" y="432"/>
                    <a:pt x="245" y="422"/>
                    <a:pt x="254" y="425"/>
                  </a:cubicBezTo>
                  <a:cubicBezTo>
                    <a:pt x="263" y="428"/>
                    <a:pt x="270" y="435"/>
                    <a:pt x="287" y="439"/>
                  </a:cubicBezTo>
                  <a:cubicBezTo>
                    <a:pt x="304" y="443"/>
                    <a:pt x="326" y="441"/>
                    <a:pt x="326" y="441"/>
                  </a:cubicBezTo>
                  <a:close/>
                </a:path>
              </a:pathLst>
            </a:custGeom>
            <a:solidFill>
              <a:srgbClr val="FF3162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1" name="Uruguay">
              <a:extLst>
                <a:ext uri="{FF2B5EF4-FFF2-40B4-BE49-F238E27FC236}">
                  <a16:creationId xmlns:a16="http://schemas.microsoft.com/office/drawing/2014/main" id="{E6F17287-305B-499B-8652-AC902FC73C96}"/>
                </a:ext>
              </a:extLst>
            </p:cNvPr>
            <p:cNvSpPr>
              <a:spLocks/>
            </p:cNvSpPr>
            <p:nvPr/>
          </p:nvSpPr>
          <p:spPr bwMode="gray">
            <a:xfrm>
              <a:off x="9302309" y="4514565"/>
              <a:ext cx="259192" cy="273793"/>
            </a:xfrm>
            <a:custGeom>
              <a:avLst/>
              <a:gdLst>
                <a:gd name="T0" fmla="*/ 92 w 246"/>
                <a:gd name="T1" fmla="*/ 249 h 258"/>
                <a:gd name="T2" fmla="*/ 152 w 246"/>
                <a:gd name="T3" fmla="*/ 253 h 258"/>
                <a:gd name="T4" fmla="*/ 220 w 246"/>
                <a:gd name="T5" fmla="*/ 244 h 258"/>
                <a:gd name="T6" fmla="*/ 243 w 246"/>
                <a:gd name="T7" fmla="*/ 196 h 258"/>
                <a:gd name="T8" fmla="*/ 233 w 246"/>
                <a:gd name="T9" fmla="*/ 197 h 258"/>
                <a:gd name="T10" fmla="*/ 234 w 246"/>
                <a:gd name="T11" fmla="*/ 176 h 258"/>
                <a:gd name="T12" fmla="*/ 227 w 246"/>
                <a:gd name="T13" fmla="*/ 169 h 258"/>
                <a:gd name="T14" fmla="*/ 241 w 246"/>
                <a:gd name="T15" fmla="*/ 140 h 258"/>
                <a:gd name="T16" fmla="*/ 219 w 246"/>
                <a:gd name="T17" fmla="*/ 127 h 258"/>
                <a:gd name="T18" fmla="*/ 201 w 246"/>
                <a:gd name="T19" fmla="*/ 98 h 258"/>
                <a:gd name="T20" fmla="*/ 182 w 246"/>
                <a:gd name="T21" fmla="*/ 95 h 258"/>
                <a:gd name="T22" fmla="*/ 164 w 246"/>
                <a:gd name="T23" fmla="*/ 76 h 258"/>
                <a:gd name="T24" fmla="*/ 152 w 246"/>
                <a:gd name="T25" fmla="*/ 67 h 258"/>
                <a:gd name="T26" fmla="*/ 140 w 246"/>
                <a:gd name="T27" fmla="*/ 65 h 258"/>
                <a:gd name="T28" fmla="*/ 116 w 246"/>
                <a:gd name="T29" fmla="*/ 43 h 258"/>
                <a:gd name="T30" fmla="*/ 101 w 246"/>
                <a:gd name="T31" fmla="*/ 54 h 258"/>
                <a:gd name="T32" fmla="*/ 85 w 246"/>
                <a:gd name="T33" fmla="*/ 31 h 258"/>
                <a:gd name="T34" fmla="*/ 48 w 246"/>
                <a:gd name="T35" fmla="*/ 2 h 258"/>
                <a:gd name="T36" fmla="*/ 30 w 246"/>
                <a:gd name="T37" fmla="*/ 10 h 258"/>
                <a:gd name="T38" fmla="*/ 14 w 246"/>
                <a:gd name="T39" fmla="*/ 9 h 258"/>
                <a:gd name="T40" fmla="*/ 0 w 246"/>
                <a:gd name="T41" fmla="*/ 24 h 258"/>
                <a:gd name="T42" fmla="*/ 21 w 246"/>
                <a:gd name="T43" fmla="*/ 41 h 258"/>
                <a:gd name="T44" fmla="*/ 3 w 246"/>
                <a:gd name="T45" fmla="*/ 48 h 258"/>
                <a:gd name="T46" fmla="*/ 3 w 246"/>
                <a:gd name="T47" fmla="*/ 75 h 258"/>
                <a:gd name="T48" fmla="*/ 20 w 246"/>
                <a:gd name="T49" fmla="*/ 85 h 258"/>
                <a:gd name="T50" fmla="*/ 2 w 246"/>
                <a:gd name="T51" fmla="*/ 93 h 258"/>
                <a:gd name="T52" fmla="*/ 16 w 246"/>
                <a:gd name="T53" fmla="*/ 114 h 258"/>
                <a:gd name="T54" fmla="*/ 9 w 246"/>
                <a:gd name="T55" fmla="*/ 124 h 258"/>
                <a:gd name="T56" fmla="*/ 28 w 246"/>
                <a:gd name="T57" fmla="*/ 152 h 258"/>
                <a:gd name="T58" fmla="*/ 4 w 246"/>
                <a:gd name="T59" fmla="*/ 158 h 258"/>
                <a:gd name="T60" fmla="*/ 4 w 246"/>
                <a:gd name="T61" fmla="*/ 190 h 258"/>
                <a:gd name="T62" fmla="*/ 24 w 246"/>
                <a:gd name="T63" fmla="*/ 215 h 258"/>
                <a:gd name="T64" fmla="*/ 51 w 246"/>
                <a:gd name="T65" fmla="*/ 234 h 258"/>
                <a:gd name="T66" fmla="*/ 58 w 246"/>
                <a:gd name="T67" fmla="*/ 238 h 258"/>
                <a:gd name="T68" fmla="*/ 85 w 246"/>
                <a:gd name="T69" fmla="*/ 238 h 258"/>
                <a:gd name="T70" fmla="*/ 92 w 246"/>
                <a:gd name="T71" fmla="*/ 249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6" h="258">
                  <a:moveTo>
                    <a:pt x="92" y="249"/>
                  </a:moveTo>
                  <a:cubicBezTo>
                    <a:pt x="92" y="249"/>
                    <a:pt x="119" y="248"/>
                    <a:pt x="152" y="253"/>
                  </a:cubicBezTo>
                  <a:cubicBezTo>
                    <a:pt x="185" y="258"/>
                    <a:pt x="204" y="257"/>
                    <a:pt x="220" y="244"/>
                  </a:cubicBezTo>
                  <a:cubicBezTo>
                    <a:pt x="234" y="233"/>
                    <a:pt x="241" y="203"/>
                    <a:pt x="243" y="19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4" y="176"/>
                    <a:pt x="234" y="176"/>
                    <a:pt x="234" y="176"/>
                  </a:cubicBezTo>
                  <a:cubicBezTo>
                    <a:pt x="234" y="176"/>
                    <a:pt x="228" y="176"/>
                    <a:pt x="227" y="169"/>
                  </a:cubicBezTo>
                  <a:cubicBezTo>
                    <a:pt x="226" y="162"/>
                    <a:pt x="236" y="149"/>
                    <a:pt x="241" y="140"/>
                  </a:cubicBezTo>
                  <a:cubicBezTo>
                    <a:pt x="246" y="131"/>
                    <a:pt x="227" y="132"/>
                    <a:pt x="219" y="127"/>
                  </a:cubicBezTo>
                  <a:cubicBezTo>
                    <a:pt x="211" y="122"/>
                    <a:pt x="201" y="98"/>
                    <a:pt x="201" y="98"/>
                  </a:cubicBezTo>
                  <a:cubicBezTo>
                    <a:pt x="201" y="98"/>
                    <a:pt x="194" y="99"/>
                    <a:pt x="182" y="95"/>
                  </a:cubicBezTo>
                  <a:cubicBezTo>
                    <a:pt x="170" y="91"/>
                    <a:pt x="168" y="78"/>
                    <a:pt x="164" y="76"/>
                  </a:cubicBezTo>
                  <a:cubicBezTo>
                    <a:pt x="160" y="74"/>
                    <a:pt x="152" y="67"/>
                    <a:pt x="152" y="67"/>
                  </a:cubicBezTo>
                  <a:cubicBezTo>
                    <a:pt x="152" y="67"/>
                    <a:pt x="145" y="68"/>
                    <a:pt x="140" y="65"/>
                  </a:cubicBezTo>
                  <a:cubicBezTo>
                    <a:pt x="135" y="62"/>
                    <a:pt x="126" y="46"/>
                    <a:pt x="116" y="43"/>
                  </a:cubicBezTo>
                  <a:cubicBezTo>
                    <a:pt x="106" y="40"/>
                    <a:pt x="107" y="54"/>
                    <a:pt x="101" y="54"/>
                  </a:cubicBezTo>
                  <a:cubicBezTo>
                    <a:pt x="95" y="54"/>
                    <a:pt x="85" y="31"/>
                    <a:pt x="85" y="31"/>
                  </a:cubicBezTo>
                  <a:cubicBezTo>
                    <a:pt x="85" y="31"/>
                    <a:pt x="60" y="4"/>
                    <a:pt x="48" y="2"/>
                  </a:cubicBezTo>
                  <a:cubicBezTo>
                    <a:pt x="36" y="0"/>
                    <a:pt x="30" y="10"/>
                    <a:pt x="30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0" y="20"/>
                    <a:pt x="0" y="24"/>
                  </a:cubicBezTo>
                  <a:cubicBezTo>
                    <a:pt x="0" y="28"/>
                    <a:pt x="21" y="41"/>
                    <a:pt x="21" y="41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0" y="85"/>
                    <a:pt x="1" y="84"/>
                    <a:pt x="2" y="93"/>
                  </a:cubicBezTo>
                  <a:cubicBezTo>
                    <a:pt x="3" y="102"/>
                    <a:pt x="16" y="114"/>
                    <a:pt x="16" y="11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29" y="147"/>
                    <a:pt x="28" y="152"/>
                  </a:cubicBezTo>
                  <a:cubicBezTo>
                    <a:pt x="27" y="157"/>
                    <a:pt x="4" y="158"/>
                    <a:pt x="4" y="158"/>
                  </a:cubicBezTo>
                  <a:cubicBezTo>
                    <a:pt x="4" y="190"/>
                    <a:pt x="4" y="190"/>
                    <a:pt x="4" y="190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32" y="209"/>
                    <a:pt x="46" y="227"/>
                    <a:pt x="51" y="234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85" y="238"/>
                    <a:pt x="85" y="238"/>
                    <a:pt x="85" y="238"/>
                  </a:cubicBezTo>
                  <a:lnTo>
                    <a:pt x="92" y="249"/>
                  </a:lnTo>
                  <a:close/>
                </a:path>
              </a:pathLst>
            </a:custGeom>
            <a:solidFill>
              <a:srgbClr val="00BCFF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2" name="Bolivia">
              <a:extLst>
                <a:ext uri="{FF2B5EF4-FFF2-40B4-BE49-F238E27FC236}">
                  <a16:creationId xmlns:a16="http://schemas.microsoft.com/office/drawing/2014/main" id="{38F562C1-4BEA-4A53-82B7-6A2A4A63364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85011" y="3347185"/>
              <a:ext cx="641954" cy="755183"/>
            </a:xfrm>
            <a:custGeom>
              <a:avLst/>
              <a:gdLst>
                <a:gd name="T0" fmla="*/ 1 w 604"/>
                <a:gd name="T1" fmla="*/ 70 h 712"/>
                <a:gd name="T2" fmla="*/ 599 w 604"/>
                <a:gd name="T3" fmla="*/ 500 h 712"/>
                <a:gd name="T4" fmla="*/ 584 w 604"/>
                <a:gd name="T5" fmla="*/ 421 h 712"/>
                <a:gd name="T6" fmla="*/ 561 w 604"/>
                <a:gd name="T7" fmla="*/ 361 h 712"/>
                <a:gd name="T8" fmla="*/ 468 w 604"/>
                <a:gd name="T9" fmla="*/ 314 h 712"/>
                <a:gd name="T10" fmla="*/ 463 w 604"/>
                <a:gd name="T11" fmla="*/ 290 h 712"/>
                <a:gd name="T12" fmla="*/ 450 w 604"/>
                <a:gd name="T13" fmla="*/ 250 h 712"/>
                <a:gd name="T14" fmla="*/ 418 w 604"/>
                <a:gd name="T15" fmla="*/ 209 h 712"/>
                <a:gd name="T16" fmla="*/ 367 w 604"/>
                <a:gd name="T17" fmla="*/ 190 h 712"/>
                <a:gd name="T18" fmla="*/ 320 w 604"/>
                <a:gd name="T19" fmla="*/ 163 h 712"/>
                <a:gd name="T20" fmla="*/ 290 w 604"/>
                <a:gd name="T21" fmla="*/ 152 h 712"/>
                <a:gd name="T22" fmla="*/ 258 w 604"/>
                <a:gd name="T23" fmla="*/ 153 h 712"/>
                <a:gd name="T24" fmla="*/ 230 w 604"/>
                <a:gd name="T25" fmla="*/ 130 h 712"/>
                <a:gd name="T26" fmla="*/ 210 w 604"/>
                <a:gd name="T27" fmla="*/ 97 h 712"/>
                <a:gd name="T28" fmla="*/ 200 w 604"/>
                <a:gd name="T29" fmla="*/ 52 h 712"/>
                <a:gd name="T30" fmla="*/ 211 w 604"/>
                <a:gd name="T31" fmla="*/ 4 h 712"/>
                <a:gd name="T32" fmla="*/ 183 w 604"/>
                <a:gd name="T33" fmla="*/ 6 h 712"/>
                <a:gd name="T34" fmla="*/ 151 w 604"/>
                <a:gd name="T35" fmla="*/ 13 h 712"/>
                <a:gd name="T36" fmla="*/ 104 w 604"/>
                <a:gd name="T37" fmla="*/ 38 h 712"/>
                <a:gd name="T38" fmla="*/ 76 w 604"/>
                <a:gd name="T39" fmla="*/ 57 h 712"/>
                <a:gd name="T40" fmla="*/ 50 w 604"/>
                <a:gd name="T41" fmla="*/ 81 h 712"/>
                <a:gd name="T42" fmla="*/ 9 w 604"/>
                <a:gd name="T43" fmla="*/ 71 h 712"/>
                <a:gd name="T44" fmla="*/ 52 w 604"/>
                <a:gd name="T45" fmla="*/ 157 h 712"/>
                <a:gd name="T46" fmla="*/ 50 w 604"/>
                <a:gd name="T47" fmla="*/ 204 h 712"/>
                <a:gd name="T48" fmla="*/ 52 w 604"/>
                <a:gd name="T49" fmla="*/ 246 h 712"/>
                <a:gd name="T50" fmla="*/ 44 w 604"/>
                <a:gd name="T51" fmla="*/ 304 h 712"/>
                <a:gd name="T52" fmla="*/ 39 w 604"/>
                <a:gd name="T53" fmla="*/ 318 h 712"/>
                <a:gd name="T54" fmla="*/ 62 w 604"/>
                <a:gd name="T55" fmla="*/ 339 h 712"/>
                <a:gd name="T56" fmla="*/ 76 w 604"/>
                <a:gd name="T57" fmla="*/ 359 h 712"/>
                <a:gd name="T58" fmla="*/ 62 w 604"/>
                <a:gd name="T59" fmla="*/ 369 h 712"/>
                <a:gd name="T60" fmla="*/ 33 w 604"/>
                <a:gd name="T61" fmla="*/ 409 h 712"/>
                <a:gd name="T62" fmla="*/ 39 w 604"/>
                <a:gd name="T63" fmla="*/ 427 h 712"/>
                <a:gd name="T64" fmla="*/ 64 w 604"/>
                <a:gd name="T65" fmla="*/ 449 h 712"/>
                <a:gd name="T66" fmla="*/ 105 w 604"/>
                <a:gd name="T67" fmla="*/ 525 h 712"/>
                <a:gd name="T68" fmla="*/ 104 w 604"/>
                <a:gd name="T69" fmla="*/ 554 h 712"/>
                <a:gd name="T70" fmla="*/ 102 w 604"/>
                <a:gd name="T71" fmla="*/ 588 h 712"/>
                <a:gd name="T72" fmla="*/ 134 w 604"/>
                <a:gd name="T73" fmla="*/ 627 h 712"/>
                <a:gd name="T74" fmla="*/ 147 w 604"/>
                <a:gd name="T75" fmla="*/ 684 h 712"/>
                <a:gd name="T76" fmla="*/ 188 w 604"/>
                <a:gd name="T77" fmla="*/ 708 h 712"/>
                <a:gd name="T78" fmla="*/ 199 w 604"/>
                <a:gd name="T79" fmla="*/ 691 h 712"/>
                <a:gd name="T80" fmla="*/ 214 w 604"/>
                <a:gd name="T81" fmla="*/ 674 h 712"/>
                <a:gd name="T82" fmla="*/ 241 w 604"/>
                <a:gd name="T83" fmla="*/ 670 h 712"/>
                <a:gd name="T84" fmla="*/ 318 w 604"/>
                <a:gd name="T85" fmla="*/ 707 h 712"/>
                <a:gd name="T86" fmla="*/ 374 w 604"/>
                <a:gd name="T87" fmla="*/ 664 h 712"/>
                <a:gd name="T88" fmla="*/ 403 w 604"/>
                <a:gd name="T89" fmla="*/ 607 h 712"/>
                <a:gd name="T90" fmla="*/ 413 w 604"/>
                <a:gd name="T91" fmla="*/ 558 h 712"/>
                <a:gd name="T92" fmla="*/ 486 w 604"/>
                <a:gd name="T93" fmla="*/ 527 h 712"/>
                <a:gd name="T94" fmla="*/ 574 w 604"/>
                <a:gd name="T95" fmla="*/ 546 h 712"/>
                <a:gd name="T96" fmla="*/ 602 w 604"/>
                <a:gd name="T97" fmla="*/ 555 h 712"/>
                <a:gd name="T98" fmla="*/ 603 w 604"/>
                <a:gd name="T99" fmla="*/ 508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4" h="712">
                  <a:moveTo>
                    <a:pt x="0" y="70"/>
                  </a:move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lose/>
                  <a:moveTo>
                    <a:pt x="599" y="500"/>
                  </a:moveTo>
                  <a:cubicBezTo>
                    <a:pt x="599" y="500"/>
                    <a:pt x="604" y="474"/>
                    <a:pt x="604" y="460"/>
                  </a:cubicBezTo>
                  <a:cubicBezTo>
                    <a:pt x="604" y="446"/>
                    <a:pt x="595" y="428"/>
                    <a:pt x="584" y="421"/>
                  </a:cubicBezTo>
                  <a:cubicBezTo>
                    <a:pt x="573" y="414"/>
                    <a:pt x="564" y="413"/>
                    <a:pt x="557" y="404"/>
                  </a:cubicBezTo>
                  <a:cubicBezTo>
                    <a:pt x="550" y="395"/>
                    <a:pt x="561" y="361"/>
                    <a:pt x="561" y="361"/>
                  </a:cubicBezTo>
                  <a:cubicBezTo>
                    <a:pt x="561" y="361"/>
                    <a:pt x="484" y="363"/>
                    <a:pt x="471" y="354"/>
                  </a:cubicBezTo>
                  <a:cubicBezTo>
                    <a:pt x="458" y="345"/>
                    <a:pt x="468" y="314"/>
                    <a:pt x="468" y="314"/>
                  </a:cubicBezTo>
                  <a:cubicBezTo>
                    <a:pt x="468" y="314"/>
                    <a:pt x="452" y="300"/>
                    <a:pt x="450" y="294"/>
                  </a:cubicBezTo>
                  <a:cubicBezTo>
                    <a:pt x="448" y="288"/>
                    <a:pt x="463" y="290"/>
                    <a:pt x="463" y="290"/>
                  </a:cubicBezTo>
                  <a:cubicBezTo>
                    <a:pt x="461" y="269"/>
                    <a:pt x="461" y="269"/>
                    <a:pt x="461" y="269"/>
                  </a:cubicBezTo>
                  <a:cubicBezTo>
                    <a:pt x="461" y="269"/>
                    <a:pt x="454" y="257"/>
                    <a:pt x="450" y="250"/>
                  </a:cubicBezTo>
                  <a:cubicBezTo>
                    <a:pt x="446" y="243"/>
                    <a:pt x="451" y="240"/>
                    <a:pt x="450" y="230"/>
                  </a:cubicBezTo>
                  <a:cubicBezTo>
                    <a:pt x="449" y="220"/>
                    <a:pt x="429" y="211"/>
                    <a:pt x="418" y="209"/>
                  </a:cubicBezTo>
                  <a:cubicBezTo>
                    <a:pt x="407" y="207"/>
                    <a:pt x="396" y="212"/>
                    <a:pt x="386" y="211"/>
                  </a:cubicBezTo>
                  <a:cubicBezTo>
                    <a:pt x="376" y="210"/>
                    <a:pt x="367" y="190"/>
                    <a:pt x="367" y="190"/>
                  </a:cubicBezTo>
                  <a:cubicBezTo>
                    <a:pt x="367" y="190"/>
                    <a:pt x="351" y="189"/>
                    <a:pt x="340" y="184"/>
                  </a:cubicBezTo>
                  <a:cubicBezTo>
                    <a:pt x="329" y="179"/>
                    <a:pt x="321" y="167"/>
                    <a:pt x="320" y="163"/>
                  </a:cubicBezTo>
                  <a:cubicBezTo>
                    <a:pt x="319" y="159"/>
                    <a:pt x="312" y="166"/>
                    <a:pt x="304" y="166"/>
                  </a:cubicBezTo>
                  <a:cubicBezTo>
                    <a:pt x="296" y="166"/>
                    <a:pt x="290" y="152"/>
                    <a:pt x="290" y="152"/>
                  </a:cubicBezTo>
                  <a:cubicBezTo>
                    <a:pt x="290" y="152"/>
                    <a:pt x="280" y="159"/>
                    <a:pt x="276" y="158"/>
                  </a:cubicBezTo>
                  <a:cubicBezTo>
                    <a:pt x="272" y="157"/>
                    <a:pt x="268" y="157"/>
                    <a:pt x="258" y="153"/>
                  </a:cubicBezTo>
                  <a:cubicBezTo>
                    <a:pt x="248" y="149"/>
                    <a:pt x="252" y="138"/>
                    <a:pt x="249" y="133"/>
                  </a:cubicBezTo>
                  <a:cubicBezTo>
                    <a:pt x="246" y="128"/>
                    <a:pt x="230" y="130"/>
                    <a:pt x="230" y="13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0"/>
                    <a:pt x="217" y="106"/>
                    <a:pt x="210" y="97"/>
                  </a:cubicBezTo>
                  <a:cubicBezTo>
                    <a:pt x="203" y="88"/>
                    <a:pt x="210" y="82"/>
                    <a:pt x="210" y="73"/>
                  </a:cubicBezTo>
                  <a:cubicBezTo>
                    <a:pt x="210" y="64"/>
                    <a:pt x="201" y="56"/>
                    <a:pt x="200" y="52"/>
                  </a:cubicBezTo>
                  <a:cubicBezTo>
                    <a:pt x="199" y="48"/>
                    <a:pt x="207" y="35"/>
                    <a:pt x="207" y="35"/>
                  </a:cubicBezTo>
                  <a:cubicBezTo>
                    <a:pt x="207" y="35"/>
                    <a:pt x="215" y="8"/>
                    <a:pt x="211" y="4"/>
                  </a:cubicBezTo>
                  <a:cubicBezTo>
                    <a:pt x="207" y="0"/>
                    <a:pt x="194" y="8"/>
                    <a:pt x="193" y="12"/>
                  </a:cubicBezTo>
                  <a:cubicBezTo>
                    <a:pt x="192" y="16"/>
                    <a:pt x="183" y="6"/>
                    <a:pt x="183" y="6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64" y="13"/>
                    <a:pt x="151" y="13"/>
                  </a:cubicBezTo>
                  <a:cubicBezTo>
                    <a:pt x="138" y="13"/>
                    <a:pt x="128" y="39"/>
                    <a:pt x="128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63" y="78"/>
                    <a:pt x="50" y="81"/>
                  </a:cubicBezTo>
                  <a:cubicBezTo>
                    <a:pt x="37" y="84"/>
                    <a:pt x="34" y="73"/>
                    <a:pt x="34" y="73"/>
                  </a:cubicBezTo>
                  <a:cubicBezTo>
                    <a:pt x="34" y="73"/>
                    <a:pt x="21" y="72"/>
                    <a:pt x="9" y="71"/>
                  </a:cubicBezTo>
                  <a:cubicBezTo>
                    <a:pt x="11" y="80"/>
                    <a:pt x="18" y="101"/>
                    <a:pt x="29" y="112"/>
                  </a:cubicBezTo>
                  <a:cubicBezTo>
                    <a:pt x="44" y="125"/>
                    <a:pt x="54" y="150"/>
                    <a:pt x="52" y="157"/>
                  </a:cubicBezTo>
                  <a:cubicBezTo>
                    <a:pt x="51" y="163"/>
                    <a:pt x="41" y="174"/>
                    <a:pt x="41" y="17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6" y="237"/>
                    <a:pt x="52" y="246"/>
                  </a:cubicBezTo>
                  <a:cubicBezTo>
                    <a:pt x="48" y="256"/>
                    <a:pt x="33" y="264"/>
                    <a:pt x="35" y="279"/>
                  </a:cubicBezTo>
                  <a:cubicBezTo>
                    <a:pt x="36" y="293"/>
                    <a:pt x="44" y="304"/>
                    <a:pt x="44" y="304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5"/>
                    <a:pt x="39" y="316"/>
                    <a:pt x="39" y="318"/>
                  </a:cubicBezTo>
                  <a:cubicBezTo>
                    <a:pt x="44" y="322"/>
                    <a:pt x="47" y="326"/>
                    <a:pt x="47" y="326"/>
                  </a:cubicBezTo>
                  <a:cubicBezTo>
                    <a:pt x="62" y="339"/>
                    <a:pt x="62" y="339"/>
                    <a:pt x="62" y="339"/>
                  </a:cubicBezTo>
                  <a:cubicBezTo>
                    <a:pt x="63" y="351"/>
                    <a:pt x="63" y="351"/>
                    <a:pt x="63" y="351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62" y="369"/>
                    <a:pt x="62" y="369"/>
                    <a:pt x="62" y="369"/>
                  </a:cubicBezTo>
                  <a:cubicBezTo>
                    <a:pt x="61" y="377"/>
                    <a:pt x="58" y="388"/>
                    <a:pt x="52" y="392"/>
                  </a:cubicBezTo>
                  <a:cubicBezTo>
                    <a:pt x="43" y="399"/>
                    <a:pt x="33" y="409"/>
                    <a:pt x="33" y="409"/>
                  </a:cubicBezTo>
                  <a:cubicBezTo>
                    <a:pt x="40" y="426"/>
                    <a:pt x="40" y="426"/>
                    <a:pt x="40" y="426"/>
                  </a:cubicBezTo>
                  <a:cubicBezTo>
                    <a:pt x="39" y="427"/>
                    <a:pt x="39" y="427"/>
                    <a:pt x="39" y="427"/>
                  </a:cubicBezTo>
                  <a:cubicBezTo>
                    <a:pt x="50" y="449"/>
                    <a:pt x="50" y="449"/>
                    <a:pt x="50" y="449"/>
                  </a:cubicBezTo>
                  <a:cubicBezTo>
                    <a:pt x="64" y="449"/>
                    <a:pt x="64" y="449"/>
                    <a:pt x="64" y="449"/>
                  </a:cubicBezTo>
                  <a:cubicBezTo>
                    <a:pt x="73" y="501"/>
                    <a:pt x="73" y="501"/>
                    <a:pt x="73" y="501"/>
                  </a:cubicBezTo>
                  <a:cubicBezTo>
                    <a:pt x="73" y="501"/>
                    <a:pt x="109" y="513"/>
                    <a:pt x="105" y="525"/>
                  </a:cubicBezTo>
                  <a:cubicBezTo>
                    <a:pt x="101" y="537"/>
                    <a:pt x="93" y="543"/>
                    <a:pt x="93" y="543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4" y="554"/>
                    <a:pt x="89" y="566"/>
                    <a:pt x="93" y="575"/>
                  </a:cubicBezTo>
                  <a:cubicBezTo>
                    <a:pt x="97" y="585"/>
                    <a:pt x="102" y="588"/>
                    <a:pt x="102" y="588"/>
                  </a:cubicBezTo>
                  <a:cubicBezTo>
                    <a:pt x="102" y="605"/>
                    <a:pt x="102" y="605"/>
                    <a:pt x="102" y="605"/>
                  </a:cubicBezTo>
                  <a:cubicBezTo>
                    <a:pt x="102" y="605"/>
                    <a:pt x="131" y="616"/>
                    <a:pt x="134" y="627"/>
                  </a:cubicBezTo>
                  <a:cubicBezTo>
                    <a:pt x="136" y="638"/>
                    <a:pt x="134" y="668"/>
                    <a:pt x="134" y="668"/>
                  </a:cubicBezTo>
                  <a:cubicBezTo>
                    <a:pt x="147" y="684"/>
                    <a:pt x="147" y="684"/>
                    <a:pt x="147" y="684"/>
                  </a:cubicBezTo>
                  <a:cubicBezTo>
                    <a:pt x="147" y="684"/>
                    <a:pt x="146" y="710"/>
                    <a:pt x="158" y="711"/>
                  </a:cubicBezTo>
                  <a:cubicBezTo>
                    <a:pt x="170" y="712"/>
                    <a:pt x="188" y="708"/>
                    <a:pt x="188" y="708"/>
                  </a:cubicBezTo>
                  <a:cubicBezTo>
                    <a:pt x="188" y="689"/>
                    <a:pt x="188" y="689"/>
                    <a:pt x="188" y="689"/>
                  </a:cubicBezTo>
                  <a:cubicBezTo>
                    <a:pt x="199" y="691"/>
                    <a:pt x="199" y="691"/>
                    <a:pt x="199" y="691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14" y="674"/>
                    <a:pt x="214" y="674"/>
                    <a:pt x="214" y="674"/>
                  </a:cubicBezTo>
                  <a:cubicBezTo>
                    <a:pt x="222" y="657"/>
                    <a:pt x="222" y="657"/>
                    <a:pt x="222" y="657"/>
                  </a:cubicBezTo>
                  <a:cubicBezTo>
                    <a:pt x="222" y="657"/>
                    <a:pt x="227" y="666"/>
                    <a:pt x="241" y="670"/>
                  </a:cubicBezTo>
                  <a:cubicBezTo>
                    <a:pt x="254" y="674"/>
                    <a:pt x="296" y="673"/>
                    <a:pt x="296" y="673"/>
                  </a:cubicBezTo>
                  <a:cubicBezTo>
                    <a:pt x="318" y="707"/>
                    <a:pt x="318" y="707"/>
                    <a:pt x="318" y="707"/>
                  </a:cubicBezTo>
                  <a:cubicBezTo>
                    <a:pt x="323" y="670"/>
                    <a:pt x="323" y="670"/>
                    <a:pt x="323" y="670"/>
                  </a:cubicBezTo>
                  <a:cubicBezTo>
                    <a:pt x="374" y="664"/>
                    <a:pt x="374" y="664"/>
                    <a:pt x="374" y="664"/>
                  </a:cubicBezTo>
                  <a:cubicBezTo>
                    <a:pt x="397" y="681"/>
                    <a:pt x="397" y="681"/>
                    <a:pt x="397" y="681"/>
                  </a:cubicBezTo>
                  <a:cubicBezTo>
                    <a:pt x="397" y="681"/>
                    <a:pt x="405" y="613"/>
                    <a:pt x="403" y="607"/>
                  </a:cubicBezTo>
                  <a:cubicBezTo>
                    <a:pt x="402" y="600"/>
                    <a:pt x="387" y="578"/>
                    <a:pt x="394" y="574"/>
                  </a:cubicBezTo>
                  <a:cubicBezTo>
                    <a:pt x="401" y="570"/>
                    <a:pt x="413" y="558"/>
                    <a:pt x="413" y="558"/>
                  </a:cubicBezTo>
                  <a:cubicBezTo>
                    <a:pt x="417" y="539"/>
                    <a:pt x="417" y="539"/>
                    <a:pt x="417" y="539"/>
                  </a:cubicBezTo>
                  <a:cubicBezTo>
                    <a:pt x="486" y="527"/>
                    <a:pt x="486" y="527"/>
                    <a:pt x="486" y="527"/>
                  </a:cubicBezTo>
                  <a:cubicBezTo>
                    <a:pt x="539" y="518"/>
                    <a:pt x="539" y="518"/>
                    <a:pt x="539" y="518"/>
                  </a:cubicBezTo>
                  <a:cubicBezTo>
                    <a:pt x="574" y="546"/>
                    <a:pt x="574" y="546"/>
                    <a:pt x="574" y="546"/>
                  </a:cubicBezTo>
                  <a:cubicBezTo>
                    <a:pt x="587" y="569"/>
                    <a:pt x="587" y="569"/>
                    <a:pt x="587" y="569"/>
                  </a:cubicBezTo>
                  <a:cubicBezTo>
                    <a:pt x="587" y="563"/>
                    <a:pt x="602" y="555"/>
                    <a:pt x="602" y="555"/>
                  </a:cubicBezTo>
                  <a:cubicBezTo>
                    <a:pt x="602" y="555"/>
                    <a:pt x="590" y="545"/>
                    <a:pt x="588" y="540"/>
                  </a:cubicBezTo>
                  <a:cubicBezTo>
                    <a:pt x="586" y="535"/>
                    <a:pt x="603" y="508"/>
                    <a:pt x="603" y="508"/>
                  </a:cubicBezTo>
                  <a:lnTo>
                    <a:pt x="599" y="500"/>
                  </a:lnTo>
                  <a:close/>
                </a:path>
              </a:pathLst>
            </a:custGeom>
            <a:solidFill>
              <a:srgbClr val="FF3162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96" name="Elipse 95">
            <a:extLst>
              <a:ext uri="{FF2B5EF4-FFF2-40B4-BE49-F238E27FC236}">
                <a16:creationId xmlns:a16="http://schemas.microsoft.com/office/drawing/2014/main" id="{EF94F456-8D5D-4572-A824-785B20E265DA}"/>
              </a:ext>
            </a:extLst>
          </p:cNvPr>
          <p:cNvSpPr/>
          <p:nvPr/>
        </p:nvSpPr>
        <p:spPr>
          <a:xfrm>
            <a:off x="2745190" y="21041"/>
            <a:ext cx="997085" cy="101586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48258C50-E384-421A-8298-1E278D4FAF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836033" y="83467"/>
            <a:ext cx="861303" cy="895302"/>
          </a:xfrm>
          <a:prstGeom prst="ellipse">
            <a:avLst/>
          </a:prstGeom>
        </p:spPr>
      </p:pic>
      <p:sp>
        <p:nvSpPr>
          <p:cNvPr id="90" name="Elipse 89">
            <a:extLst>
              <a:ext uri="{FF2B5EF4-FFF2-40B4-BE49-F238E27FC236}">
                <a16:creationId xmlns:a16="http://schemas.microsoft.com/office/drawing/2014/main" id="{9A82C2E5-D5EE-421A-9318-78F5021E2E4B}"/>
              </a:ext>
            </a:extLst>
          </p:cNvPr>
          <p:cNvSpPr/>
          <p:nvPr/>
        </p:nvSpPr>
        <p:spPr>
          <a:xfrm>
            <a:off x="6963349" y="1127552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gal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Elipse 90">
            <a:extLst>
              <a:ext uri="{FF2B5EF4-FFF2-40B4-BE49-F238E27FC236}">
                <a16:creationId xmlns:a16="http://schemas.microsoft.com/office/drawing/2014/main" id="{C94C5426-60C8-43D7-AA35-4C25F272B5DD}"/>
              </a:ext>
            </a:extLst>
          </p:cNvPr>
          <p:cNvSpPr/>
          <p:nvPr/>
        </p:nvSpPr>
        <p:spPr>
          <a:xfrm>
            <a:off x="7079471" y="2665736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ra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Elipse 92">
            <a:extLst>
              <a:ext uri="{FF2B5EF4-FFF2-40B4-BE49-F238E27FC236}">
                <a16:creationId xmlns:a16="http://schemas.microsoft.com/office/drawing/2014/main" id="{C531E32D-F633-43BD-B382-C16CADCAD0FF}"/>
              </a:ext>
            </a:extLst>
          </p:cNvPr>
          <p:cNvSpPr/>
          <p:nvPr/>
        </p:nvSpPr>
        <p:spPr>
          <a:xfrm>
            <a:off x="5511712" y="91824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eedor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Elipse 94">
            <a:extLst>
              <a:ext uri="{FF2B5EF4-FFF2-40B4-BE49-F238E27FC236}">
                <a16:creationId xmlns:a16="http://schemas.microsoft.com/office/drawing/2014/main" id="{1DCB1BC8-0AF2-40AF-8968-8353D0B21ABD}"/>
              </a:ext>
            </a:extLst>
          </p:cNvPr>
          <p:cNvSpPr/>
          <p:nvPr/>
        </p:nvSpPr>
        <p:spPr>
          <a:xfrm>
            <a:off x="7145873" y="4313785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ntas</a:t>
            </a:r>
          </a:p>
        </p:txBody>
      </p:sp>
      <p:sp>
        <p:nvSpPr>
          <p:cNvPr id="97" name="Elipse 96">
            <a:extLst>
              <a:ext uri="{FF2B5EF4-FFF2-40B4-BE49-F238E27FC236}">
                <a16:creationId xmlns:a16="http://schemas.microsoft.com/office/drawing/2014/main" id="{FA8A8AD4-0CC5-4E20-BB88-92F01EF07730}"/>
              </a:ext>
            </a:extLst>
          </p:cNvPr>
          <p:cNvSpPr/>
          <p:nvPr/>
        </p:nvSpPr>
        <p:spPr>
          <a:xfrm>
            <a:off x="5912295" y="5585892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za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40533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0D575DA-568A-4383-923F-A7C0E2E479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8" y="448"/>
            <a:ext cx="12190824" cy="6857107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2CC4F597-C298-484C-B92B-E5AA5702D05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" y="448"/>
            <a:ext cx="7733293" cy="6857107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6DDB94EB-E909-4102-9218-DC0894C4001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01054" y="446"/>
            <a:ext cx="1290152" cy="107682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E901C3C-BE4A-42D9-9593-1F1AE6DCC7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" y="30077"/>
            <a:ext cx="7923768" cy="6857107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2302012-DB35-4AB2-B3DE-0DF93D6529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905000" y="2915226"/>
            <a:ext cx="517552" cy="542676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ADA8129D-A85F-47F6-8BED-065D707D9AB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00250" y="2905444"/>
            <a:ext cx="687452" cy="767705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B1258FF9-AF51-41CA-865D-E886818741D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2484" t="34321" r="16250" b="56914"/>
          <a:stretch/>
        </p:blipFill>
        <p:spPr>
          <a:xfrm>
            <a:off x="8429395" y="1157796"/>
            <a:ext cx="2592470" cy="601057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287FE099-D8E2-41BE-9EA8-1023F888074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2467" t="42926" b="48642"/>
          <a:stretch/>
        </p:blipFill>
        <p:spPr>
          <a:xfrm>
            <a:off x="7615789" y="1807977"/>
            <a:ext cx="4575416" cy="578200"/>
          </a:xfrm>
          <a:prstGeom prst="rect">
            <a:avLst/>
          </a:prstGeom>
        </p:spPr>
      </p:pic>
      <p:pic>
        <p:nvPicPr>
          <p:cNvPr id="45" name="Imagem 44">
            <a:extLst>
              <a:ext uri="{FF2B5EF4-FFF2-40B4-BE49-F238E27FC236}">
                <a16:creationId xmlns:a16="http://schemas.microsoft.com/office/drawing/2014/main" id="{141C3BB8-9489-495F-80FD-F9124FDC28B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56283"/>
          <a:stretch/>
        </p:blipFill>
        <p:spPr>
          <a:xfrm>
            <a:off x="-2286000" y="2496015"/>
            <a:ext cx="1124860" cy="1447337"/>
          </a:xfrm>
          <a:prstGeom prst="rect">
            <a:avLst/>
          </a:prstGeom>
        </p:spPr>
      </p:pic>
      <p:sp>
        <p:nvSpPr>
          <p:cNvPr id="46" name="Untertitel 8"/>
          <p:cNvSpPr txBox="1">
            <a:spLocks/>
          </p:cNvSpPr>
          <p:nvPr/>
        </p:nvSpPr>
        <p:spPr>
          <a:xfrm>
            <a:off x="7615789" y="3054849"/>
            <a:ext cx="4355562" cy="153660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 dirty="0">
                <a:solidFill>
                  <a:srgbClr val="FFFFFF"/>
                </a:solidFill>
                <a:latin typeface="Arial"/>
                <a:cs typeface="Arial"/>
              </a:rPr>
              <a:t>CY.23</a:t>
            </a:r>
          </a:p>
        </p:txBody>
      </p:sp>
      <p:sp>
        <p:nvSpPr>
          <p:cNvPr id="48" name="Textplatzhalter 9"/>
          <p:cNvSpPr txBox="1">
            <a:spLocks/>
          </p:cNvSpPr>
          <p:nvPr/>
        </p:nvSpPr>
        <p:spPr>
          <a:xfrm>
            <a:off x="8458377" y="5948799"/>
            <a:ext cx="2915519" cy="6601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b="1" dirty="0" err="1">
                <a:solidFill>
                  <a:srgbClr val="FFFFFF"/>
                </a:solidFill>
                <a:latin typeface="Arial"/>
                <a:cs typeface="Arial"/>
              </a:rPr>
              <a:t>Marzo</a:t>
            </a:r>
            <a:r>
              <a:rPr lang="en-US" b="1" dirty="0">
                <a:solidFill>
                  <a:srgbClr val="FFFFFF"/>
                </a:solidFill>
                <a:latin typeface="Arial"/>
                <a:cs typeface="Arial"/>
              </a:rPr>
              <a:t> 2023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5FAD20F-A002-498E-902F-DBFED8D91B35}"/>
              </a:ext>
            </a:extLst>
          </p:cNvPr>
          <p:cNvSpPr txBox="1">
            <a:spLocks/>
          </p:cNvSpPr>
          <p:nvPr/>
        </p:nvSpPr>
        <p:spPr>
          <a:xfrm>
            <a:off x="815795" y="1619705"/>
            <a:ext cx="6813333" cy="48396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875" lvl="1" indent="-269875"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 - ¿</a:t>
            </a:r>
            <a:r>
              <a:rPr lang="en-US" dirty="0" err="1">
                <a:solidFill>
                  <a:schemeClr val="bg1"/>
                </a:solidFill>
              </a:rPr>
              <a:t>Quiene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omos</a:t>
            </a:r>
            <a:r>
              <a:rPr lang="en-US" dirty="0">
                <a:solidFill>
                  <a:schemeClr val="bg1"/>
                </a:solidFill>
              </a:rPr>
              <a:t>?</a:t>
            </a:r>
          </a:p>
          <a:p>
            <a:pPr lvl="1" indent="0">
              <a:lnSpc>
                <a:spcPct val="150000"/>
              </a:lnSpc>
              <a:buNone/>
            </a:pPr>
            <a:endParaRPr lang="en-US" dirty="0">
              <a:solidFill>
                <a:schemeClr val="bg1"/>
              </a:solidFill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s-ES" sz="1800" b="1" u="sng" dirty="0">
                <a:solidFill>
                  <a:schemeClr val="bg1"/>
                </a:solidFill>
              </a:rPr>
              <a:t>Somos</a:t>
            </a:r>
            <a:r>
              <a:rPr lang="es-ES" sz="1800" b="1" dirty="0">
                <a:solidFill>
                  <a:schemeClr val="bg1"/>
                </a:solidFill>
              </a:rPr>
              <a:t> un EQUIPO MULTIDISCIPLINARIO y versátil cuyo </a:t>
            </a:r>
            <a:r>
              <a:rPr lang="es-ES" sz="1800" b="1" u="sng" dirty="0">
                <a:solidFill>
                  <a:schemeClr val="bg1"/>
                </a:solidFill>
              </a:rPr>
              <a:t>objetivo</a:t>
            </a:r>
            <a:r>
              <a:rPr lang="es-ES" sz="1800" b="1" dirty="0">
                <a:solidFill>
                  <a:schemeClr val="bg1"/>
                </a:solidFill>
              </a:rPr>
              <a:t> 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s-ES" sz="1800" b="1" dirty="0">
                <a:solidFill>
                  <a:schemeClr val="bg1"/>
                </a:solidFill>
              </a:rPr>
              <a:t>es la FIDELIZACIÓN del cliente, traccionando la venta de todo el porfolio </a:t>
            </a:r>
            <a:r>
              <a:rPr lang="es-ES" sz="1800" b="1" u="sng" dirty="0">
                <a:solidFill>
                  <a:schemeClr val="bg1"/>
                </a:solidFill>
              </a:rPr>
              <a:t>mediante</a:t>
            </a:r>
            <a:r>
              <a:rPr lang="es-ES" sz="1800" b="1" dirty="0">
                <a:solidFill>
                  <a:schemeClr val="bg1"/>
                </a:solidFill>
              </a:rPr>
              <a:t> PROYECTOS de INVERSIÓN RENTABLES</a:t>
            </a:r>
            <a:endParaRPr lang="en-US" dirty="0">
              <a:solidFill>
                <a:schemeClr val="bg1"/>
              </a:solidFill>
            </a:endParaRPr>
          </a:p>
          <a:p>
            <a:pPr lvl="1" indent="0">
              <a:lnSpc>
                <a:spcPct val="150000"/>
              </a:lnSpc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612900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es-ES" b="1" u="sng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demas</a:t>
            </a:r>
            <a:r>
              <a:rPr lang="es-ES" b="1" u="sng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trabajamos los siguientes proyectos: </a:t>
            </a:r>
          </a:p>
          <a:p>
            <a:pPr marL="612900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es-ES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aquinas</a:t>
            </a:r>
          </a:p>
          <a:p>
            <a:pPr marL="612900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es-ES" i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cronex</a:t>
            </a:r>
            <a:endParaRPr lang="es-ES" i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612900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es-ES" i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hytobac</a:t>
            </a:r>
            <a:r>
              <a:rPr lang="es-ES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(proyecto sustentable)</a:t>
            </a:r>
          </a:p>
          <a:p>
            <a:pPr marL="612900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endParaRPr lang="en-US" i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4" name="Title 7">
            <a:extLst>
              <a:ext uri="{FF2B5EF4-FFF2-40B4-BE49-F238E27FC236}">
                <a16:creationId xmlns:a16="http://schemas.microsoft.com/office/drawing/2014/main" id="{3B2A5F86-514B-417E-B7E0-C7D681FF7B4C}"/>
              </a:ext>
            </a:extLst>
          </p:cNvPr>
          <p:cNvSpPr txBox="1">
            <a:spLocks/>
          </p:cNvSpPr>
          <p:nvPr/>
        </p:nvSpPr>
        <p:spPr>
          <a:xfrm>
            <a:off x="222363" y="811313"/>
            <a:ext cx="9625255" cy="864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465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795CF09A-5D9A-422D-A363-5F8B973BF1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04875" y="1138298"/>
            <a:ext cx="10876940" cy="557151"/>
          </a:xfrm>
        </p:spPr>
        <p:txBody>
          <a:bodyPr>
            <a:normAutofit/>
          </a:bodyPr>
          <a:lstStyle/>
          <a:p>
            <a:r>
              <a:rPr lang="es-AR" dirty="0"/>
              <a:t>Campaña Soja 2023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C44CEDD-290F-4A9D-B328-A97B86C05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3200"/>
            <a:ext cx="10515600" cy="1325563"/>
          </a:xfrm>
        </p:spPr>
        <p:txBody>
          <a:bodyPr/>
          <a:lstStyle/>
          <a:p>
            <a:r>
              <a:rPr lang="es-AR" b="1" dirty="0"/>
              <a:t>Propuesta 2023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5B457FF-7614-40DB-B3EE-7C24ED55D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E881071-24C8-4FF5-BB74-E52BF6691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/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07ECD39A-2F1A-4F5F-9C37-DB531F4D6919}"/>
              </a:ext>
            </a:extLst>
          </p:cNvPr>
          <p:cNvGraphicFramePr>
            <a:graphicFrameLocks noGrp="1"/>
          </p:cNvGraphicFramePr>
          <p:nvPr>
            <p:ph sz="quarter" idx="14"/>
          </p:nvPr>
        </p:nvGraphicFramePr>
        <p:xfrm>
          <a:off x="695325" y="1853894"/>
          <a:ext cx="1080135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050">
                  <a:extLst>
                    <a:ext uri="{9D8B030D-6E8A-4147-A177-3AD203B41FA5}">
                      <a16:colId xmlns:a16="http://schemas.microsoft.com/office/drawing/2014/main" val="3630548086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3781269142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2151200400"/>
                    </a:ext>
                  </a:extLst>
                </a:gridCol>
                <a:gridCol w="1539033">
                  <a:extLst>
                    <a:ext uri="{9D8B030D-6E8A-4147-A177-3AD203B41FA5}">
                      <a16:colId xmlns:a16="http://schemas.microsoft.com/office/drawing/2014/main" val="3966962639"/>
                    </a:ext>
                  </a:extLst>
                </a:gridCol>
                <a:gridCol w="1542362">
                  <a:extLst>
                    <a:ext uri="{9D8B030D-6E8A-4147-A177-3AD203B41FA5}">
                      <a16:colId xmlns:a16="http://schemas.microsoft.com/office/drawing/2014/main" val="3544715030"/>
                    </a:ext>
                  </a:extLst>
                </a:gridCol>
                <a:gridCol w="1547755">
                  <a:extLst>
                    <a:ext uri="{9D8B030D-6E8A-4147-A177-3AD203B41FA5}">
                      <a16:colId xmlns:a16="http://schemas.microsoft.com/office/drawing/2014/main" val="207316458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37466001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Macro Gerencia</a:t>
                      </a:r>
                      <a:endParaRPr lang="es-AR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sz="18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Gerencia</a:t>
                      </a:r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RV exclusivos de </a:t>
                      </a:r>
                      <a:r>
                        <a:rPr lang="es-AR" sz="1800" b="1" u="none" strike="noStrike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Seed</a:t>
                      </a:r>
                      <a:r>
                        <a:rPr lang="es-AR" sz="18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 </a:t>
                      </a:r>
                      <a:r>
                        <a:rPr lang="es-AR" sz="1800" b="1" u="none" strike="noStrike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growth</a:t>
                      </a:r>
                      <a:endParaRPr lang="es-AR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RV modalidad mixta</a:t>
                      </a:r>
                      <a:endParaRPr lang="es-AR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dirty="0" err="1"/>
                        <a:t>Customer</a:t>
                      </a:r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dirty="0" err="1"/>
                        <a:t>Planning</a:t>
                      </a:r>
                      <a:r>
                        <a:rPr lang="es-AR" dirty="0"/>
                        <a:t> y </a:t>
                      </a:r>
                      <a:r>
                        <a:rPr lang="es-AR" dirty="0" err="1"/>
                        <a:t>Logistica</a:t>
                      </a:r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dirty="0"/>
                        <a:t>Cobranzas//</a:t>
                      </a:r>
                    </a:p>
                    <a:p>
                      <a:r>
                        <a:rPr lang="es-AR" dirty="0"/>
                        <a:t>Crédit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9552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 dirty="0">
                          <a:effectLst/>
                        </a:rPr>
                        <a:t>Jorgelina Carcova</a:t>
                      </a:r>
                      <a:endParaRPr lang="es-A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dirty="0"/>
                        <a:t>Jose Lasca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 dirty="0">
                          <a:effectLst/>
                        </a:rPr>
                        <a:t>Lisandro Martino - Patricio Galletti </a:t>
                      </a:r>
                      <a:endParaRPr lang="es-A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u="none" strike="noStrike" dirty="0">
                          <a:effectLst/>
                        </a:rPr>
                        <a:t>Federico Granillo - Maria Silvia Conti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 dirty="0">
                          <a:effectLst/>
                        </a:rPr>
                        <a:t>Emiliano Cacciapuot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 dirty="0">
                          <a:effectLst/>
                        </a:rPr>
                        <a:t>(reporta a Bettina Guillen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A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 dirty="0">
                          <a:effectLst/>
                        </a:rPr>
                        <a:t>Pamela Quiñones</a:t>
                      </a:r>
                      <a:endParaRPr lang="es-A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dirty="0"/>
                        <a:t>Redefinir procesos con aprobaciones por flujos de Salesfor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901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446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" name="Imagen 172">
            <a:extLst>
              <a:ext uri="{FF2B5EF4-FFF2-40B4-BE49-F238E27FC236}">
                <a16:creationId xmlns:a16="http://schemas.microsoft.com/office/drawing/2014/main" id="{4438E286-EE71-4F44-8D7A-BCF87AC15E6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49"/>
            <a:ext cx="12192000" cy="6858000"/>
          </a:xfrm>
          <a:prstGeom prst="rect">
            <a:avLst/>
          </a:prstGeom>
        </p:spPr>
      </p:pic>
      <p:pic>
        <p:nvPicPr>
          <p:cNvPr id="334" name="Imagen 333">
            <a:extLst>
              <a:ext uri="{FF2B5EF4-FFF2-40B4-BE49-F238E27FC236}">
                <a16:creationId xmlns:a16="http://schemas.microsoft.com/office/drawing/2014/main" id="{8B410B90-3953-4685-B116-36A32574FE8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636" y="377517"/>
            <a:ext cx="522000" cy="522000"/>
          </a:xfrm>
          <a:prstGeom prst="rect">
            <a:avLst/>
          </a:prstGeom>
        </p:spPr>
      </p:pic>
      <p:cxnSp>
        <p:nvCxnSpPr>
          <p:cNvPr id="337" name="Straight Connector 35">
            <a:extLst>
              <a:ext uri="{FF2B5EF4-FFF2-40B4-BE49-F238E27FC236}">
                <a16:creationId xmlns:a16="http://schemas.microsoft.com/office/drawing/2014/main" id="{74CBBBC4-941D-46FD-B724-8B4C728795EB}"/>
              </a:ext>
            </a:extLst>
          </p:cNvPr>
          <p:cNvCxnSpPr>
            <a:cxnSpLocks/>
          </p:cNvCxnSpPr>
          <p:nvPr/>
        </p:nvCxnSpPr>
        <p:spPr>
          <a:xfrm flipH="1">
            <a:off x="1342180" y="0"/>
            <a:ext cx="134184" cy="1069648"/>
          </a:xfrm>
          <a:prstGeom prst="line">
            <a:avLst/>
          </a:prstGeom>
          <a:ln>
            <a:solidFill>
              <a:srgbClr val="3FD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5">
            <a:extLst>
              <a:ext uri="{FF2B5EF4-FFF2-40B4-BE49-F238E27FC236}">
                <a16:creationId xmlns:a16="http://schemas.microsoft.com/office/drawing/2014/main" id="{ECBC3589-E242-4545-93F9-5D8F2168F7DF}"/>
              </a:ext>
            </a:extLst>
          </p:cNvPr>
          <p:cNvCxnSpPr>
            <a:cxnSpLocks/>
          </p:cNvCxnSpPr>
          <p:nvPr/>
        </p:nvCxnSpPr>
        <p:spPr>
          <a:xfrm flipH="1">
            <a:off x="1455196" y="0"/>
            <a:ext cx="134184" cy="1069648"/>
          </a:xfrm>
          <a:prstGeom prst="line">
            <a:avLst/>
          </a:prstGeom>
          <a:ln>
            <a:solidFill>
              <a:srgbClr val="3FD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upo 52">
            <a:extLst>
              <a:ext uri="{FF2B5EF4-FFF2-40B4-BE49-F238E27FC236}">
                <a16:creationId xmlns:a16="http://schemas.microsoft.com/office/drawing/2014/main" id="{A3A8D28E-3043-4A44-A559-6AEFBFF905F3}"/>
              </a:ext>
            </a:extLst>
          </p:cNvPr>
          <p:cNvGrpSpPr/>
          <p:nvPr/>
        </p:nvGrpSpPr>
        <p:grpSpPr>
          <a:xfrm>
            <a:off x="113619" y="3644815"/>
            <a:ext cx="4981613" cy="1028393"/>
            <a:chOff x="963655" y="2562351"/>
            <a:chExt cx="5605385" cy="929099"/>
          </a:xfrm>
        </p:grpSpPr>
        <p:sp>
          <p:nvSpPr>
            <p:cNvPr id="54" name="Rectángulo 53">
              <a:extLst>
                <a:ext uri="{FF2B5EF4-FFF2-40B4-BE49-F238E27FC236}">
                  <a16:creationId xmlns:a16="http://schemas.microsoft.com/office/drawing/2014/main" id="{51655C0D-6F79-A444-98CD-08F19B44EF0C}"/>
                </a:ext>
              </a:extLst>
            </p:cNvPr>
            <p:cNvSpPr/>
            <p:nvPr/>
          </p:nvSpPr>
          <p:spPr>
            <a:xfrm>
              <a:off x="963655" y="2568389"/>
              <a:ext cx="5531085" cy="92306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2" name="CuadroTexto 71">
              <a:extLst>
                <a:ext uri="{FF2B5EF4-FFF2-40B4-BE49-F238E27FC236}">
                  <a16:creationId xmlns:a16="http://schemas.microsoft.com/office/drawing/2014/main" id="{012F748E-CCF0-654D-95B5-3D809007372C}"/>
                </a:ext>
              </a:extLst>
            </p:cNvPr>
            <p:cNvSpPr txBox="1"/>
            <p:nvPr/>
          </p:nvSpPr>
          <p:spPr>
            <a:xfrm>
              <a:off x="3443793" y="2705512"/>
              <a:ext cx="3125247" cy="5839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rPr>
                <a:t># </a:t>
              </a:r>
              <a:r>
                <a:rPr lang="es-ES" sz="1200" dirty="0">
                  <a:cs typeface="Arial" panose="020B0604020202020204" pitchFamily="34" charset="0"/>
                </a:rPr>
                <a:t>Creación de </a:t>
              </a:r>
              <a:r>
                <a:rPr lang="en-US" sz="1200" dirty="0"/>
                <a:t>ASSET </a:t>
              </a:r>
              <a:r>
                <a:rPr lang="en-US" sz="1200" dirty="0" err="1"/>
                <a:t>Acronex</a:t>
              </a:r>
              <a:endParaRPr lang="en-US" sz="1200" dirty="0"/>
            </a:p>
            <a:p>
              <a:pPr indent="-285750" defTabSz="914309">
                <a:spcBef>
                  <a:spcPct val="0"/>
                </a:spcBef>
                <a:buClr>
                  <a:srgbClr val="25A5E8"/>
                </a:buClr>
              </a:pPr>
              <a:r>
                <a:rPr lang="es-ES" altLang="es-AR" sz="1200" i="1" dirty="0">
                  <a:solidFill>
                    <a:srgbClr val="10384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# </a:t>
              </a:r>
              <a:r>
                <a:rPr lang="en-US" sz="1200" dirty="0"/>
                <a:t>Focal de </a:t>
              </a:r>
              <a:r>
                <a:rPr lang="en-US" sz="1200" dirty="0" err="1"/>
                <a:t>Acronex</a:t>
              </a:r>
              <a:endParaRPr lang="en-US" sz="1200" dirty="0"/>
            </a:p>
            <a:p>
              <a:pPr indent="-285750" defTabSz="914309">
                <a:spcBef>
                  <a:spcPct val="0"/>
                </a:spcBef>
                <a:buClr>
                  <a:srgbClr val="25A5E8"/>
                </a:buClr>
              </a:pPr>
              <a:endParaRPr lang="es-ES" altLang="es-AR" sz="1200" i="1" dirty="0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ángulo 72">
              <a:extLst>
                <a:ext uri="{FF2B5EF4-FFF2-40B4-BE49-F238E27FC236}">
                  <a16:creationId xmlns:a16="http://schemas.microsoft.com/office/drawing/2014/main" id="{C83DEF30-CEB4-174D-9323-0746D2B6AAF0}"/>
                </a:ext>
              </a:extLst>
            </p:cNvPr>
            <p:cNvSpPr/>
            <p:nvPr/>
          </p:nvSpPr>
          <p:spPr>
            <a:xfrm>
              <a:off x="965637" y="2562351"/>
              <a:ext cx="2279296" cy="923061"/>
            </a:xfrm>
            <a:prstGeom prst="rect">
              <a:avLst/>
            </a:prstGeom>
            <a:solidFill>
              <a:srgbClr val="66B5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4" name="CuadroTexto 73">
              <a:extLst>
                <a:ext uri="{FF2B5EF4-FFF2-40B4-BE49-F238E27FC236}">
                  <a16:creationId xmlns:a16="http://schemas.microsoft.com/office/drawing/2014/main" id="{423FC49D-0A01-7F4F-B77D-1E3610B47303}"/>
                </a:ext>
              </a:extLst>
            </p:cNvPr>
            <p:cNvSpPr txBox="1"/>
            <p:nvPr/>
          </p:nvSpPr>
          <p:spPr>
            <a:xfrm>
              <a:off x="989074" y="2598379"/>
              <a:ext cx="2268405" cy="2502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es-AR" sz="1200" dirty="0">
                  <a:solidFill>
                    <a:schemeClr val="bg1"/>
                  </a:solidFill>
                  <a:latin typeface="Arial"/>
                  <a:cs typeface="Arial"/>
                </a:rPr>
                <a:t>- </a:t>
              </a:r>
              <a:r>
                <a:rPr lang="en-US" altLang="es-AR" sz="1200" dirty="0" err="1">
                  <a:solidFill>
                    <a:schemeClr val="bg1"/>
                  </a:solidFill>
                  <a:latin typeface="Arial"/>
                  <a:cs typeface="Arial"/>
                </a:rPr>
                <a:t>Acronex</a:t>
              </a:r>
              <a:endParaRPr lang="en-US" altLang="es-AR"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6" name="Grupo 75">
            <a:extLst>
              <a:ext uri="{FF2B5EF4-FFF2-40B4-BE49-F238E27FC236}">
                <a16:creationId xmlns:a16="http://schemas.microsoft.com/office/drawing/2014/main" id="{1260FD49-2C20-444F-B6AE-393DF980F35B}"/>
              </a:ext>
            </a:extLst>
          </p:cNvPr>
          <p:cNvGrpSpPr/>
          <p:nvPr/>
        </p:nvGrpSpPr>
        <p:grpSpPr>
          <a:xfrm>
            <a:off x="91317" y="4767785"/>
            <a:ext cx="4926733" cy="1309630"/>
            <a:chOff x="919050" y="3599010"/>
            <a:chExt cx="4926733" cy="1961792"/>
          </a:xfrm>
        </p:grpSpPr>
        <p:sp>
          <p:nvSpPr>
            <p:cNvPr id="77" name="Rectángulo 76">
              <a:extLst>
                <a:ext uri="{FF2B5EF4-FFF2-40B4-BE49-F238E27FC236}">
                  <a16:creationId xmlns:a16="http://schemas.microsoft.com/office/drawing/2014/main" id="{16A953C8-B740-904E-AF0E-53305842A43E}"/>
                </a:ext>
              </a:extLst>
            </p:cNvPr>
            <p:cNvSpPr/>
            <p:nvPr/>
          </p:nvSpPr>
          <p:spPr>
            <a:xfrm>
              <a:off x="939247" y="3607011"/>
              <a:ext cx="4906536" cy="1945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8" name="Rectángulo 77">
              <a:extLst>
                <a:ext uri="{FF2B5EF4-FFF2-40B4-BE49-F238E27FC236}">
                  <a16:creationId xmlns:a16="http://schemas.microsoft.com/office/drawing/2014/main" id="{984CC046-DD78-6D4D-88B2-34557E0C3530}"/>
                </a:ext>
              </a:extLst>
            </p:cNvPr>
            <p:cNvSpPr/>
            <p:nvPr/>
          </p:nvSpPr>
          <p:spPr>
            <a:xfrm>
              <a:off x="963980" y="3599010"/>
              <a:ext cx="2004787" cy="1961792"/>
            </a:xfrm>
            <a:prstGeom prst="rect">
              <a:avLst/>
            </a:prstGeom>
            <a:solidFill>
              <a:srgbClr val="3870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/>
            </a:p>
          </p:txBody>
        </p:sp>
        <p:sp>
          <p:nvSpPr>
            <p:cNvPr id="79" name="CuadroTexto 78">
              <a:extLst>
                <a:ext uri="{FF2B5EF4-FFF2-40B4-BE49-F238E27FC236}">
                  <a16:creationId xmlns:a16="http://schemas.microsoft.com/office/drawing/2014/main" id="{4E916C67-6BC1-DF46-A599-E1AB2D790497}"/>
                </a:ext>
              </a:extLst>
            </p:cNvPr>
            <p:cNvSpPr txBox="1"/>
            <p:nvPr/>
          </p:nvSpPr>
          <p:spPr>
            <a:xfrm>
              <a:off x="919050" y="3688530"/>
              <a:ext cx="2004787" cy="4149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altLang="es-AR" sz="1200" dirty="0">
                  <a:solidFill>
                    <a:schemeClr val="bg1"/>
                  </a:solidFill>
                  <a:latin typeface="Arial"/>
                  <a:cs typeface="Arial"/>
                </a:rPr>
                <a:t>- Maquinas </a:t>
              </a:r>
            </a:p>
          </p:txBody>
        </p:sp>
      </p:grpSp>
      <p:pic>
        <p:nvPicPr>
          <p:cNvPr id="39" name="Imagen 38">
            <a:extLst>
              <a:ext uri="{FF2B5EF4-FFF2-40B4-BE49-F238E27FC236}">
                <a16:creationId xmlns:a16="http://schemas.microsoft.com/office/drawing/2014/main" id="{1ED26A4E-AD8A-4B3C-84B8-4C0E74F81C6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alphaModFix amt="7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940" y="131597"/>
            <a:ext cx="1069627" cy="454991"/>
          </a:xfrm>
          <a:prstGeom prst="roundRect">
            <a:avLst>
              <a:gd name="adj" fmla="val 27576"/>
            </a:avLst>
          </a:prstGeom>
        </p:spPr>
      </p:pic>
      <p:sp>
        <p:nvSpPr>
          <p:cNvPr id="40" name="Flecha: pentágono 227">
            <a:extLst>
              <a:ext uri="{FF2B5EF4-FFF2-40B4-BE49-F238E27FC236}">
                <a16:creationId xmlns:a16="http://schemas.microsoft.com/office/drawing/2014/main" id="{28ACB032-6F5D-4D46-A3C5-009695A261F6}"/>
              </a:ext>
            </a:extLst>
          </p:cNvPr>
          <p:cNvSpPr/>
          <p:nvPr/>
        </p:nvSpPr>
        <p:spPr>
          <a:xfrm>
            <a:off x="0" y="1168275"/>
            <a:ext cx="5051501" cy="415198"/>
          </a:xfrm>
          <a:prstGeom prst="chevron">
            <a:avLst/>
          </a:prstGeom>
          <a:solidFill>
            <a:srgbClr val="32C2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Flecha: pentágono 227">
            <a:extLst>
              <a:ext uri="{FF2B5EF4-FFF2-40B4-BE49-F238E27FC236}">
                <a16:creationId xmlns:a16="http://schemas.microsoft.com/office/drawing/2014/main" id="{78B8D27D-658F-42FD-B57C-7238D7B9DB6C}"/>
              </a:ext>
            </a:extLst>
          </p:cNvPr>
          <p:cNvSpPr/>
          <p:nvPr/>
        </p:nvSpPr>
        <p:spPr>
          <a:xfrm>
            <a:off x="5104880" y="1181100"/>
            <a:ext cx="4648924" cy="402373"/>
          </a:xfrm>
          <a:prstGeom prst="chevr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BFCBC8A6-63D7-46FE-9057-604E52EA7DD2}"/>
              </a:ext>
            </a:extLst>
          </p:cNvPr>
          <p:cNvSpPr txBox="1"/>
          <p:nvPr/>
        </p:nvSpPr>
        <p:spPr>
          <a:xfrm>
            <a:off x="-1" y="1671016"/>
            <a:ext cx="402907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000" b="1" dirty="0">
                <a:solidFill>
                  <a:srgbClr val="32C2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EAS EN CADA PROYECTO </a:t>
            </a:r>
            <a:r>
              <a:rPr lang="es-AR" sz="1400" b="1" i="1" dirty="0">
                <a:solidFill>
                  <a:srgbClr val="32C2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3)</a:t>
            </a:r>
            <a:endParaRPr lang="es-AR" sz="2000" b="1" i="1" dirty="0">
              <a:solidFill>
                <a:srgbClr val="32C2C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B0E1E2C1-BFBD-42E0-8D8E-E856F78D6F43}"/>
              </a:ext>
            </a:extLst>
          </p:cNvPr>
          <p:cNvCxnSpPr>
            <a:cxnSpLocks/>
          </p:cNvCxnSpPr>
          <p:nvPr/>
        </p:nvCxnSpPr>
        <p:spPr>
          <a:xfrm flipH="1">
            <a:off x="268664" y="2218398"/>
            <a:ext cx="251156" cy="0"/>
          </a:xfrm>
          <a:prstGeom prst="line">
            <a:avLst/>
          </a:prstGeom>
          <a:ln w="28575">
            <a:solidFill>
              <a:srgbClr val="32C2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uadroTexto 62">
            <a:extLst>
              <a:ext uri="{FF2B5EF4-FFF2-40B4-BE49-F238E27FC236}">
                <a16:creationId xmlns:a16="http://schemas.microsoft.com/office/drawing/2014/main" id="{55C35270-1F83-4BAB-A2AE-B21C3BB9B8B5}"/>
              </a:ext>
            </a:extLst>
          </p:cNvPr>
          <p:cNvSpPr txBox="1"/>
          <p:nvPr/>
        </p:nvSpPr>
        <p:spPr>
          <a:xfrm>
            <a:off x="5352080" y="1648336"/>
            <a:ext cx="3190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eas adicionales </a:t>
            </a:r>
            <a:endParaRPr lang="es-AR" sz="20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502A715C-1C82-4BE8-B21A-282ECBA22929}"/>
              </a:ext>
            </a:extLst>
          </p:cNvPr>
          <p:cNvCxnSpPr>
            <a:cxnSpLocks/>
          </p:cNvCxnSpPr>
          <p:nvPr/>
        </p:nvCxnSpPr>
        <p:spPr>
          <a:xfrm flipH="1">
            <a:off x="5461180" y="2190926"/>
            <a:ext cx="273749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o 6">
            <a:extLst>
              <a:ext uri="{FF2B5EF4-FFF2-40B4-BE49-F238E27FC236}">
                <a16:creationId xmlns:a16="http://schemas.microsoft.com/office/drawing/2014/main" id="{2895B59F-486E-4891-99B0-A0D82880F4A7}"/>
              </a:ext>
            </a:extLst>
          </p:cNvPr>
          <p:cNvGrpSpPr/>
          <p:nvPr/>
        </p:nvGrpSpPr>
        <p:grpSpPr>
          <a:xfrm>
            <a:off x="113619" y="2425631"/>
            <a:ext cx="5136462" cy="1085067"/>
            <a:chOff x="113619" y="2640980"/>
            <a:chExt cx="5073497" cy="1085067"/>
          </a:xfrm>
        </p:grpSpPr>
        <p:grpSp>
          <p:nvGrpSpPr>
            <p:cNvPr id="48" name="Grupo 47">
              <a:extLst>
                <a:ext uri="{FF2B5EF4-FFF2-40B4-BE49-F238E27FC236}">
                  <a16:creationId xmlns:a16="http://schemas.microsoft.com/office/drawing/2014/main" id="{F737C640-36F2-1747-A246-265AE45A5321}"/>
                </a:ext>
              </a:extLst>
            </p:cNvPr>
            <p:cNvGrpSpPr/>
            <p:nvPr/>
          </p:nvGrpSpPr>
          <p:grpSpPr>
            <a:xfrm>
              <a:off x="113619" y="2640980"/>
              <a:ext cx="5073497" cy="1050074"/>
              <a:chOff x="963655" y="1522014"/>
              <a:chExt cx="5699063" cy="1050074"/>
            </a:xfrm>
          </p:grpSpPr>
          <p:sp>
            <p:nvSpPr>
              <p:cNvPr id="49" name="Rectángulo 48">
                <a:extLst>
                  <a:ext uri="{FF2B5EF4-FFF2-40B4-BE49-F238E27FC236}">
                    <a16:creationId xmlns:a16="http://schemas.microsoft.com/office/drawing/2014/main" id="{F21450C9-9D7E-5144-9047-ADEED816608F}"/>
                  </a:ext>
                </a:extLst>
              </p:cNvPr>
              <p:cNvSpPr/>
              <p:nvPr/>
            </p:nvSpPr>
            <p:spPr>
              <a:xfrm>
                <a:off x="963655" y="1522014"/>
                <a:ext cx="5478732" cy="103892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12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0" name="CuadroTexto 49">
                <a:extLst>
                  <a:ext uri="{FF2B5EF4-FFF2-40B4-BE49-F238E27FC236}">
                    <a16:creationId xmlns:a16="http://schemas.microsoft.com/office/drawing/2014/main" id="{FD38F37C-3842-9248-961F-2674572F1353}"/>
                  </a:ext>
                </a:extLst>
              </p:cNvPr>
              <p:cNvSpPr txBox="1"/>
              <p:nvPr/>
            </p:nvSpPr>
            <p:spPr>
              <a:xfrm>
                <a:off x="3450618" y="1612966"/>
                <a:ext cx="3212100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/>
                  </a:rPr>
                  <a:t># </a:t>
                </a:r>
                <a:r>
                  <a:rPr lang="es-ES" sz="1200" dirty="0">
                    <a:cs typeface="Arial" panose="020B0604020202020204" pitchFamily="34" charset="0"/>
                  </a:rPr>
                  <a:t>Creación de </a:t>
                </a:r>
                <a:r>
                  <a:rPr lang="en-US" sz="1200" dirty="0"/>
                  <a:t>ASSET </a:t>
                </a:r>
                <a:r>
                  <a:rPr lang="en-US" sz="1200" dirty="0" err="1"/>
                  <a:t>Phytobac</a:t>
                </a:r>
                <a:endParaRPr lang="en-US" sz="1200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/>
                  </a:rPr>
                  <a:t># </a:t>
                </a:r>
                <a:r>
                  <a:rPr lang="en-US" sz="1200" dirty="0" err="1"/>
                  <a:t>Seguimiento</a:t>
                </a:r>
                <a:r>
                  <a:rPr lang="en-US" sz="1200" dirty="0"/>
                  <a:t> </a:t>
                </a:r>
                <a:r>
                  <a:rPr lang="en-US" sz="1200" dirty="0" err="1"/>
                  <a:t>Avance</a:t>
                </a:r>
                <a:r>
                  <a:rPr lang="en-US" sz="1200" dirty="0"/>
                  <a:t> </a:t>
                </a:r>
                <a:r>
                  <a:rPr lang="en-US" sz="1200" dirty="0" err="1"/>
                  <a:t>Operativo</a:t>
                </a:r>
                <a:r>
                  <a:rPr lang="en-US" sz="1200" dirty="0"/>
                  <a:t> </a:t>
                </a:r>
                <a:r>
                  <a:rPr lang="en-US" sz="1200" dirty="0" err="1"/>
                  <a:t>Phytobac</a:t>
                </a:r>
                <a:endParaRPr lang="es-ES" sz="800" i="1" dirty="0">
                  <a:solidFill>
                    <a:srgbClr val="00B0F0"/>
                  </a:solidFill>
                  <a:latin typeface="Arial" panose="020B0604020202020204" pitchFamily="34" charset="0"/>
                  <a:cs typeface="Arial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/>
                  </a:rPr>
                  <a:t>#</a:t>
                </a:r>
                <a:r>
                  <a:rPr lang="es-ES" sz="1200" dirty="0">
                    <a:solidFill>
                      <a:srgbClr val="10384F"/>
                    </a:solidFill>
                    <a:latin typeface="Arial" panose="020B0604020202020204" pitchFamily="34" charset="0"/>
                    <a:cs typeface="Arial"/>
                  </a:rPr>
                  <a:t>3 </a:t>
                </a:r>
                <a:r>
                  <a:rPr lang="es-ES" sz="1200" dirty="0"/>
                  <a:t>Seguimiento del muestreo de los </a:t>
                </a:r>
                <a:r>
                  <a:rPr lang="es-ES" sz="1200" dirty="0" err="1"/>
                  <a:t>Phytobac</a:t>
                </a:r>
                <a:endParaRPr lang="es-ES" sz="800" i="1" dirty="0">
                  <a:solidFill>
                    <a:srgbClr val="00B0F0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51" name="Rectángulo 50">
                <a:extLst>
                  <a:ext uri="{FF2B5EF4-FFF2-40B4-BE49-F238E27FC236}">
                    <a16:creationId xmlns:a16="http://schemas.microsoft.com/office/drawing/2014/main" id="{0D1492C9-56BD-3649-9480-AAC577E04B78}"/>
                  </a:ext>
                </a:extLst>
              </p:cNvPr>
              <p:cNvSpPr/>
              <p:nvPr/>
            </p:nvSpPr>
            <p:spPr>
              <a:xfrm>
                <a:off x="965637" y="1528039"/>
                <a:ext cx="2275415" cy="1044049"/>
              </a:xfrm>
              <a:prstGeom prst="rect">
                <a:avLst/>
              </a:prstGeom>
              <a:solidFill>
                <a:srgbClr val="32C2C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sp>
            <p:nvSpPr>
              <p:cNvPr id="52" name="CuadroTexto 51">
                <a:extLst>
                  <a:ext uri="{FF2B5EF4-FFF2-40B4-BE49-F238E27FC236}">
                    <a16:creationId xmlns:a16="http://schemas.microsoft.com/office/drawing/2014/main" id="{3A9914FB-9BD7-E64C-86F6-4C382220D2AF}"/>
                  </a:ext>
                </a:extLst>
              </p:cNvPr>
              <p:cNvSpPr txBox="1"/>
              <p:nvPr/>
            </p:nvSpPr>
            <p:spPr>
              <a:xfrm>
                <a:off x="1010134" y="1660720"/>
                <a:ext cx="2672861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it-IT" altLang="es-AR" sz="1200" dirty="0">
                    <a:solidFill>
                      <a:schemeClr val="bg1"/>
                    </a:solidFill>
                    <a:latin typeface="Arial"/>
                    <a:cs typeface="Arial"/>
                  </a:rPr>
                  <a:t>- </a:t>
                </a:r>
                <a:r>
                  <a:rPr lang="it-IT" altLang="es-AR" sz="1200" dirty="0" err="1">
                    <a:solidFill>
                      <a:schemeClr val="bg1"/>
                    </a:solidFill>
                    <a:latin typeface="Arial"/>
                    <a:cs typeface="Arial"/>
                  </a:rPr>
                  <a:t>Phytobac</a:t>
                </a:r>
                <a:endParaRPr lang="it-IT" altLang="es-AR" sz="1200" dirty="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65" name="CuadroTexto 64">
              <a:extLst>
                <a:ext uri="{FF2B5EF4-FFF2-40B4-BE49-F238E27FC236}">
                  <a16:creationId xmlns:a16="http://schemas.microsoft.com/office/drawing/2014/main" id="{98542133-FABA-4F50-9244-79901B4C5D1B}"/>
                </a:ext>
              </a:extLst>
            </p:cNvPr>
            <p:cNvSpPr txBox="1"/>
            <p:nvPr/>
          </p:nvSpPr>
          <p:spPr>
            <a:xfrm>
              <a:off x="1259023" y="3479826"/>
              <a:ext cx="946565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1000" i="1" dirty="0"/>
            </a:p>
          </p:txBody>
        </p:sp>
      </p:grpSp>
      <p:sp>
        <p:nvSpPr>
          <p:cNvPr id="67" name="CuadroTexto 66">
            <a:extLst>
              <a:ext uri="{FF2B5EF4-FFF2-40B4-BE49-F238E27FC236}">
                <a16:creationId xmlns:a16="http://schemas.microsoft.com/office/drawing/2014/main" id="{D7D8585D-D81A-416D-994C-75B3F75403F1}"/>
              </a:ext>
            </a:extLst>
          </p:cNvPr>
          <p:cNvSpPr txBox="1"/>
          <p:nvPr/>
        </p:nvSpPr>
        <p:spPr>
          <a:xfrm>
            <a:off x="2266785" y="4919465"/>
            <a:ext cx="2607697" cy="9925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200" i="1" dirty="0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#</a:t>
            </a:r>
            <a:r>
              <a:rPr lang="en-US" altLang="es-AR" sz="1200" dirty="0">
                <a:latin typeface="Arial"/>
                <a:cs typeface="Arial"/>
              </a:rPr>
              <a:t> </a:t>
            </a:r>
            <a:r>
              <a:rPr lang="en-US" altLang="es-AR" sz="1200" dirty="0" err="1">
                <a:cs typeface="Arial"/>
              </a:rPr>
              <a:t>Actualizacion</a:t>
            </a:r>
            <a:r>
              <a:rPr lang="en-US" altLang="es-AR" sz="1200" dirty="0">
                <a:latin typeface="Arial"/>
                <a:cs typeface="Arial"/>
              </a:rPr>
              <a:t> </a:t>
            </a:r>
            <a:r>
              <a:rPr lang="en-US" altLang="es-AR" sz="1200" dirty="0" err="1">
                <a:cs typeface="Arial"/>
              </a:rPr>
              <a:t>Máquinas</a:t>
            </a:r>
            <a:r>
              <a:rPr lang="en-US" altLang="es-AR" sz="1200" dirty="0">
                <a:cs typeface="Arial"/>
              </a:rPr>
              <a:t> sin </a:t>
            </a:r>
            <a:r>
              <a:rPr lang="en-US" altLang="es-AR" sz="1200" dirty="0" err="1">
                <a:cs typeface="Arial"/>
              </a:rPr>
              <a:t>contrato</a:t>
            </a:r>
            <a:r>
              <a:rPr lang="en-US" altLang="es-AR" sz="1200" dirty="0">
                <a:cs typeface="Arial"/>
              </a:rPr>
              <a:t> </a:t>
            </a:r>
            <a:r>
              <a:rPr lang="en-US" altLang="es-AR" sz="1200" dirty="0" err="1">
                <a:cs typeface="Arial"/>
              </a:rPr>
              <a:t>vigente</a:t>
            </a:r>
            <a:r>
              <a:rPr lang="en-US" altLang="es-AR" sz="1200" dirty="0">
                <a:cs typeface="Arial"/>
              </a:rPr>
              <a:t> o </a:t>
            </a:r>
            <a:r>
              <a:rPr lang="en-US" altLang="es-AR" sz="1200" dirty="0" err="1">
                <a:cs typeface="Arial"/>
              </a:rPr>
              <a:t>incumplidos</a:t>
            </a:r>
            <a:br>
              <a:rPr lang="en-US" altLang="es-AR" sz="1200" dirty="0">
                <a:cs typeface="Arial"/>
              </a:rPr>
            </a:br>
            <a:r>
              <a:rPr lang="es-ES" altLang="es-AR" sz="1200" dirty="0">
                <a:cs typeface="Arial" panose="020B0604020202020204" pitchFamily="34" charset="0"/>
                <a:sym typeface="Wingdings" panose="05000000000000000000" pitchFamily="2" charset="2"/>
              </a:rPr>
              <a:t># Soporte para generación de contratos y carga de los mismos. </a:t>
            </a:r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100" dirty="0">
                <a:cs typeface="Arial" panose="020B0604020202020204" pitchFamily="34" charset="0"/>
                <a:sym typeface="Wingdings" panose="05000000000000000000" pitchFamily="2" charset="2"/>
              </a:rPr>
              <a:t># </a:t>
            </a:r>
            <a:r>
              <a:rPr lang="es-ES" sz="1100" dirty="0">
                <a:cs typeface="Arial" panose="020B0604020202020204" pitchFamily="34" charset="0"/>
              </a:rPr>
              <a:t>Creación de ASSET para Máquinas</a:t>
            </a:r>
            <a:endParaRPr lang="es-ES" altLang="es-AR" sz="1100" b="1" dirty="0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12" name="Gráfico 11" descr="Usuarios contorno">
            <a:extLst>
              <a:ext uri="{FF2B5EF4-FFF2-40B4-BE49-F238E27FC236}">
                <a16:creationId xmlns:a16="http://schemas.microsoft.com/office/drawing/2014/main" id="{38039254-3FEC-41C1-B7A8-BA2A73290D6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63040" y="2754854"/>
            <a:ext cx="647252" cy="647252"/>
          </a:xfrm>
          <a:prstGeom prst="rect">
            <a:avLst/>
          </a:prstGeom>
        </p:spPr>
      </p:pic>
      <p:pic>
        <p:nvPicPr>
          <p:cNvPr id="14" name="Gráfico 13" descr="Policía hombre contorno">
            <a:extLst>
              <a:ext uri="{FF2B5EF4-FFF2-40B4-BE49-F238E27FC236}">
                <a16:creationId xmlns:a16="http://schemas.microsoft.com/office/drawing/2014/main" id="{C2869784-7E4F-44E5-81F0-C21A4BAFCEC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67436" y="3991087"/>
            <a:ext cx="399826" cy="399826"/>
          </a:xfrm>
          <a:prstGeom prst="rect">
            <a:avLst/>
          </a:prstGeom>
        </p:spPr>
      </p:pic>
      <p:pic>
        <p:nvPicPr>
          <p:cNvPr id="106" name="Gráfico 105" descr="Germen contorno">
            <a:extLst>
              <a:ext uri="{FF2B5EF4-FFF2-40B4-BE49-F238E27FC236}">
                <a16:creationId xmlns:a16="http://schemas.microsoft.com/office/drawing/2014/main" id="{5C3F439F-B8B6-4820-AA28-47A826C400F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44726" y="5561703"/>
            <a:ext cx="373193" cy="373193"/>
          </a:xfrm>
          <a:prstGeom prst="rect">
            <a:avLst/>
          </a:prstGeom>
        </p:spPr>
      </p:pic>
      <p:sp>
        <p:nvSpPr>
          <p:cNvPr id="114" name="Rectángulo 113">
            <a:extLst>
              <a:ext uri="{FF2B5EF4-FFF2-40B4-BE49-F238E27FC236}">
                <a16:creationId xmlns:a16="http://schemas.microsoft.com/office/drawing/2014/main" id="{F755D1A3-8601-4142-90EE-184160BD5C13}"/>
              </a:ext>
            </a:extLst>
          </p:cNvPr>
          <p:cNvSpPr/>
          <p:nvPr/>
        </p:nvSpPr>
        <p:spPr>
          <a:xfrm>
            <a:off x="5518068" y="2540356"/>
            <a:ext cx="1387360" cy="265484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5" name="CuadroTexto 114">
            <a:extLst>
              <a:ext uri="{FF2B5EF4-FFF2-40B4-BE49-F238E27FC236}">
                <a16:creationId xmlns:a16="http://schemas.microsoft.com/office/drawing/2014/main" id="{A8D2CE87-DEA6-437A-BB5E-DBAA3E78F1A3}"/>
              </a:ext>
            </a:extLst>
          </p:cNvPr>
          <p:cNvSpPr txBox="1"/>
          <p:nvPr/>
        </p:nvSpPr>
        <p:spPr>
          <a:xfrm>
            <a:off x="5574272" y="3823073"/>
            <a:ext cx="140275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200" dirty="0"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es-ES" altLang="es-AR" sz="1200" dirty="0" err="1">
                <a:cs typeface="Arial" panose="020B0604020202020204" pitchFamily="34" charset="0"/>
                <a:sym typeface="Wingdings" panose="05000000000000000000" pitchFamily="2" charset="2"/>
              </a:rPr>
              <a:t>Generaciòn</a:t>
            </a:r>
            <a:r>
              <a:rPr lang="es-ES" altLang="es-AR" sz="1200" dirty="0">
                <a:cs typeface="Arial" panose="020B0604020202020204" pitchFamily="34" charset="0"/>
                <a:sym typeface="Wingdings" panose="05000000000000000000" pitchFamily="2" charset="2"/>
              </a:rPr>
              <a:t> de OC</a:t>
            </a:r>
          </a:p>
          <a:p>
            <a:pPr defTabSz="914309">
              <a:spcBef>
                <a:spcPct val="0"/>
              </a:spcBef>
              <a:buClr>
                <a:srgbClr val="25A5E8"/>
              </a:buClr>
            </a:pPr>
            <a:r>
              <a:rPr lang="en-US" sz="1200" dirty="0"/>
              <a:t>- Forecast </a:t>
            </a:r>
            <a:r>
              <a:rPr lang="en-US" sz="1200" dirty="0" err="1"/>
              <a:t>presupuesto</a:t>
            </a:r>
            <a:r>
              <a:rPr lang="en-US" sz="1200" dirty="0"/>
              <a:t> </a:t>
            </a:r>
            <a:r>
              <a:rPr lang="en-US" sz="1200" dirty="0" err="1"/>
              <a:t>Área</a:t>
            </a:r>
            <a:endParaRPr lang="en-US" sz="1200" dirty="0"/>
          </a:p>
          <a:p>
            <a:pPr defTabSz="914309">
              <a:spcBef>
                <a:spcPct val="0"/>
              </a:spcBef>
              <a:buClr>
                <a:srgbClr val="25A5E8"/>
              </a:buClr>
            </a:pPr>
            <a:r>
              <a:rPr lang="en-US" sz="1200" dirty="0"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en-US" sz="1200" dirty="0"/>
              <a:t>Carga de </a:t>
            </a:r>
            <a:r>
              <a:rPr lang="en-US" sz="1200" dirty="0" err="1"/>
              <a:t>contratos</a:t>
            </a:r>
            <a:r>
              <a:rPr lang="en-US" sz="1200" dirty="0"/>
              <a:t> CLMS</a:t>
            </a:r>
            <a:endParaRPr lang="es-ES" sz="1200" dirty="0"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  <a:buFontTx/>
              <a:buChar char="-"/>
            </a:pPr>
            <a:endParaRPr lang="es-ES" altLang="es-AR" sz="1200" dirty="0">
              <a:solidFill>
                <a:srgbClr val="10384F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6" name="Rectángulo 115">
            <a:extLst>
              <a:ext uri="{FF2B5EF4-FFF2-40B4-BE49-F238E27FC236}">
                <a16:creationId xmlns:a16="http://schemas.microsoft.com/office/drawing/2014/main" id="{9CFA0534-B245-4CBC-95E1-9D8B308E823F}"/>
              </a:ext>
            </a:extLst>
          </p:cNvPr>
          <p:cNvSpPr/>
          <p:nvPr/>
        </p:nvSpPr>
        <p:spPr>
          <a:xfrm>
            <a:off x="5512270" y="2528047"/>
            <a:ext cx="1371600" cy="132033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8" name="Gráfico 17" descr="Lista contorno">
            <a:extLst>
              <a:ext uri="{FF2B5EF4-FFF2-40B4-BE49-F238E27FC236}">
                <a16:creationId xmlns:a16="http://schemas.microsoft.com/office/drawing/2014/main" id="{9DD4685B-FDDB-4B30-9948-EB3A9D7DE4B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53461" y="2687857"/>
            <a:ext cx="914400" cy="914400"/>
          </a:xfrm>
          <a:prstGeom prst="rect">
            <a:avLst/>
          </a:prstGeom>
        </p:spPr>
      </p:pic>
      <p:sp>
        <p:nvSpPr>
          <p:cNvPr id="108" name="Rectángulo 107">
            <a:extLst>
              <a:ext uri="{FF2B5EF4-FFF2-40B4-BE49-F238E27FC236}">
                <a16:creationId xmlns:a16="http://schemas.microsoft.com/office/drawing/2014/main" id="{E5EBD8CF-3E0E-44B0-A3E5-443E3B5B9171}"/>
              </a:ext>
            </a:extLst>
          </p:cNvPr>
          <p:cNvSpPr/>
          <p:nvPr/>
        </p:nvSpPr>
        <p:spPr>
          <a:xfrm>
            <a:off x="6950503" y="2569335"/>
            <a:ext cx="1358721" cy="264016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9" name="Rectángulo 108">
            <a:extLst>
              <a:ext uri="{FF2B5EF4-FFF2-40B4-BE49-F238E27FC236}">
                <a16:creationId xmlns:a16="http://schemas.microsoft.com/office/drawing/2014/main" id="{765D40A4-0865-4890-A9BB-F8978879FD7E}"/>
              </a:ext>
            </a:extLst>
          </p:cNvPr>
          <p:cNvSpPr/>
          <p:nvPr/>
        </p:nvSpPr>
        <p:spPr>
          <a:xfrm>
            <a:off x="6943736" y="2524259"/>
            <a:ext cx="1373041" cy="1328301"/>
          </a:xfrm>
          <a:prstGeom prst="rect">
            <a:avLst/>
          </a:prstGeom>
          <a:solidFill>
            <a:srgbClr val="3870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/>
          </a:p>
        </p:txBody>
      </p:sp>
      <p:sp>
        <p:nvSpPr>
          <p:cNvPr id="112" name="CuadroTexto 111">
            <a:extLst>
              <a:ext uri="{FF2B5EF4-FFF2-40B4-BE49-F238E27FC236}">
                <a16:creationId xmlns:a16="http://schemas.microsoft.com/office/drawing/2014/main" id="{49B7F28B-035C-46BC-AF20-4444F4C4F6F4}"/>
              </a:ext>
            </a:extLst>
          </p:cNvPr>
          <p:cNvSpPr txBox="1"/>
          <p:nvPr/>
        </p:nvSpPr>
        <p:spPr>
          <a:xfrm>
            <a:off x="6936183" y="3491917"/>
            <a:ext cx="135674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endParaRPr lang="es-ES" sz="1200" dirty="0"/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endParaRPr lang="es-ES" sz="1200" dirty="0"/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sz="1200" dirty="0"/>
              <a:t>- Seguimiento de la facturación de los proveedores.</a:t>
            </a:r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sz="1200" dirty="0"/>
              <a:t>- Creación, liberación y seguimiento de PO</a:t>
            </a:r>
            <a:endParaRPr lang="es-ES" altLang="es-AR" sz="1200" i="1" dirty="0">
              <a:solidFill>
                <a:srgbClr val="10384F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4AB3B91D-C18F-4871-BB8C-CBDF21A0DC17}"/>
              </a:ext>
            </a:extLst>
          </p:cNvPr>
          <p:cNvGrpSpPr/>
          <p:nvPr/>
        </p:nvGrpSpPr>
        <p:grpSpPr>
          <a:xfrm>
            <a:off x="7286483" y="2805445"/>
            <a:ext cx="740745" cy="710266"/>
            <a:chOff x="12866746" y="4025150"/>
            <a:chExt cx="740745" cy="710266"/>
          </a:xfrm>
        </p:grpSpPr>
        <p:pic>
          <p:nvPicPr>
            <p:cNvPr id="111" name="Gráfico 110" descr="Germen contorno">
              <a:extLst>
                <a:ext uri="{FF2B5EF4-FFF2-40B4-BE49-F238E27FC236}">
                  <a16:creationId xmlns:a16="http://schemas.microsoft.com/office/drawing/2014/main" id="{80D5BF17-6A77-4D57-9B98-0A8706A75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866746" y="4025150"/>
              <a:ext cx="373193" cy="373193"/>
            </a:xfrm>
            <a:prstGeom prst="rect">
              <a:avLst/>
            </a:prstGeom>
          </p:spPr>
        </p:pic>
        <p:pic>
          <p:nvPicPr>
            <p:cNvPr id="125" name="Gráfico 124" descr="Germen contorno">
              <a:extLst>
                <a:ext uri="{FF2B5EF4-FFF2-40B4-BE49-F238E27FC236}">
                  <a16:creationId xmlns:a16="http://schemas.microsoft.com/office/drawing/2014/main" id="{2A5F9B35-4064-44A9-A584-EAE4E2B720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3234298" y="4145277"/>
              <a:ext cx="373193" cy="373193"/>
            </a:xfrm>
            <a:prstGeom prst="rect">
              <a:avLst/>
            </a:prstGeom>
          </p:spPr>
        </p:pic>
        <p:pic>
          <p:nvPicPr>
            <p:cNvPr id="126" name="Gráfico 125" descr="Germen contorno">
              <a:extLst>
                <a:ext uri="{FF2B5EF4-FFF2-40B4-BE49-F238E27FC236}">
                  <a16:creationId xmlns:a16="http://schemas.microsoft.com/office/drawing/2014/main" id="{8580EEE9-4C94-405F-8395-B5A8CB2AB1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924119" y="4362223"/>
              <a:ext cx="373193" cy="373193"/>
            </a:xfrm>
            <a:prstGeom prst="rect">
              <a:avLst/>
            </a:prstGeom>
          </p:spPr>
        </p:pic>
      </p:grpSp>
      <p:sp>
        <p:nvSpPr>
          <p:cNvPr id="130" name="Rectángulo 129">
            <a:extLst>
              <a:ext uri="{FF2B5EF4-FFF2-40B4-BE49-F238E27FC236}">
                <a16:creationId xmlns:a16="http://schemas.microsoft.com/office/drawing/2014/main" id="{9FEB0591-D13E-4418-8147-742728911BF5}"/>
              </a:ext>
            </a:extLst>
          </p:cNvPr>
          <p:cNvSpPr/>
          <p:nvPr/>
        </p:nvSpPr>
        <p:spPr>
          <a:xfrm>
            <a:off x="5524914" y="5209504"/>
            <a:ext cx="2835826" cy="94710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7" name="Parallelogram 118">
            <a:extLst>
              <a:ext uri="{FF2B5EF4-FFF2-40B4-BE49-F238E27FC236}">
                <a16:creationId xmlns:a16="http://schemas.microsoft.com/office/drawing/2014/main" id="{06FDB0F0-8474-4735-891F-20D1040B7C0F}"/>
              </a:ext>
            </a:extLst>
          </p:cNvPr>
          <p:cNvSpPr>
            <a:spLocks/>
          </p:cNvSpPr>
          <p:nvPr/>
        </p:nvSpPr>
        <p:spPr bwMode="gray">
          <a:xfrm rot="16200000">
            <a:off x="5224139" y="5796033"/>
            <a:ext cx="651540" cy="182880"/>
          </a:xfrm>
          <a:prstGeom prst="parallelogram">
            <a:avLst/>
          </a:prstGeom>
          <a:gradFill flip="none" rotWithShape="1">
            <a:gsLst>
              <a:gs pos="0">
                <a:srgbClr val="D20F4B"/>
              </a:gs>
              <a:gs pos="100000">
                <a:srgbClr val="D20F4B">
                  <a:alpha val="0"/>
                </a:srgbClr>
              </a:gs>
            </a:gsLst>
            <a:lin ang="10800000" scaled="1"/>
            <a:tileRect/>
          </a:gradFill>
          <a:ln w="3175" cap="flat" cmpd="sng" algn="ctr">
            <a:noFill/>
            <a:prstDash val="solid"/>
          </a:ln>
          <a:effectLst/>
        </p:spPr>
        <p:txBody>
          <a:bodyPr wrap="none" lIns="0" tIns="0" rIns="0" bIns="0" rtlCol="0" anchor="b" anchorCtr="0">
            <a:noAutofit/>
          </a:bodyPr>
          <a:lstStyle/>
          <a:p>
            <a:pPr algn="ctr" defTabSz="1828527">
              <a:lnSpc>
                <a:spcPts val="2800"/>
              </a:lnSpc>
            </a:pPr>
            <a:r>
              <a:rPr lang="en-GB" sz="1050" b="1" i="1" kern="0" dirty="0">
                <a:solidFill>
                  <a:srgbClr val="FFFFFF"/>
                </a:solidFill>
                <a:latin typeface="Arial"/>
                <a:cs typeface="Arial"/>
              </a:rPr>
              <a:t>WOW</a:t>
            </a:r>
            <a:endParaRPr lang="en-US" sz="1050" b="1" i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8" name="Parallelogram 118">
            <a:extLst>
              <a:ext uri="{FF2B5EF4-FFF2-40B4-BE49-F238E27FC236}">
                <a16:creationId xmlns:a16="http://schemas.microsoft.com/office/drawing/2014/main" id="{5E7E3EDF-61E4-410A-B971-8A17B0B0DC8F}"/>
              </a:ext>
            </a:extLst>
          </p:cNvPr>
          <p:cNvSpPr>
            <a:spLocks/>
          </p:cNvSpPr>
          <p:nvPr/>
        </p:nvSpPr>
        <p:spPr bwMode="gray">
          <a:xfrm>
            <a:off x="6904486" y="5100020"/>
            <a:ext cx="1333464" cy="182880"/>
          </a:xfrm>
          <a:prstGeom prst="parallelogram">
            <a:avLst/>
          </a:prstGeom>
          <a:gradFill flip="none" rotWithShape="1">
            <a:gsLst>
              <a:gs pos="0">
                <a:srgbClr val="3ABAE2"/>
              </a:gs>
              <a:gs pos="100000">
                <a:srgbClr val="3ABAE2">
                  <a:alpha val="0"/>
                </a:srgbClr>
              </a:gs>
            </a:gsLst>
            <a:lin ang="10800000" scaled="1"/>
            <a:tileRect/>
          </a:gradFill>
          <a:ln w="3175" cap="flat" cmpd="sng" algn="ctr">
            <a:noFill/>
            <a:prstDash val="solid"/>
          </a:ln>
          <a:effectLst/>
        </p:spPr>
        <p:txBody>
          <a:bodyPr wrap="none" lIns="0" tIns="0" rIns="0" bIns="0" rtlCol="0" anchor="b" anchorCtr="0">
            <a:noAutofit/>
          </a:bodyPr>
          <a:lstStyle/>
          <a:p>
            <a:pPr algn="ctr" defTabSz="1828527">
              <a:lnSpc>
                <a:spcPts val="2800"/>
              </a:lnSpc>
            </a:pPr>
            <a:r>
              <a:rPr lang="en-GB" sz="1050" b="1" i="1" kern="0" dirty="0">
                <a:solidFill>
                  <a:srgbClr val="FFFFFF"/>
                </a:solidFill>
                <a:latin typeface="Arial"/>
                <a:cs typeface="Arial"/>
              </a:rPr>
              <a:t>PERFORM</a:t>
            </a:r>
            <a:endParaRPr lang="en-US" sz="1050" b="1" i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1" name="CuadroTexto 130">
            <a:extLst>
              <a:ext uri="{FF2B5EF4-FFF2-40B4-BE49-F238E27FC236}">
                <a16:creationId xmlns:a16="http://schemas.microsoft.com/office/drawing/2014/main" id="{42FA2424-D7F5-4B2F-8EC2-32C783BC57DF}"/>
              </a:ext>
            </a:extLst>
          </p:cNvPr>
          <p:cNvSpPr txBox="1"/>
          <p:nvPr/>
        </p:nvSpPr>
        <p:spPr>
          <a:xfrm>
            <a:off x="5578900" y="5570112"/>
            <a:ext cx="1963933" cy="577081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defTabSz="914309">
              <a:spcBef>
                <a:spcPct val="0"/>
              </a:spcBef>
              <a:buClr>
                <a:srgbClr val="00B050"/>
              </a:buClr>
            </a:pPr>
            <a:r>
              <a:rPr lang="es-ES" altLang="es-AR" sz="1050" i="1" dirty="0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ceso de Facturación y Despacho</a:t>
            </a:r>
            <a:endParaRPr lang="es-ES" altLang="es-AR" sz="1200" i="1" dirty="0">
              <a:solidFill>
                <a:srgbClr val="10384F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0EE2A022-7FC4-4AE4-8883-E2EA96F22EB4}"/>
              </a:ext>
            </a:extLst>
          </p:cNvPr>
          <p:cNvSpPr/>
          <p:nvPr/>
        </p:nvSpPr>
        <p:spPr>
          <a:xfrm>
            <a:off x="5508070" y="2521040"/>
            <a:ext cx="296214" cy="273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>
                <a:solidFill>
                  <a:schemeClr val="tx1"/>
                </a:solidFill>
              </a:rPr>
              <a:t>1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41" name="Rectángulo 140">
            <a:extLst>
              <a:ext uri="{FF2B5EF4-FFF2-40B4-BE49-F238E27FC236}">
                <a16:creationId xmlns:a16="http://schemas.microsoft.com/office/drawing/2014/main" id="{03AF9743-894B-49CC-A390-D209FEAE3A8E}"/>
              </a:ext>
            </a:extLst>
          </p:cNvPr>
          <p:cNvSpPr/>
          <p:nvPr/>
        </p:nvSpPr>
        <p:spPr>
          <a:xfrm>
            <a:off x="6941918" y="2514600"/>
            <a:ext cx="296214" cy="273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>
                <a:solidFill>
                  <a:schemeClr val="tx1"/>
                </a:solidFill>
              </a:rPr>
              <a:t>2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44" name="CuadroTexto 143">
            <a:extLst>
              <a:ext uri="{FF2B5EF4-FFF2-40B4-BE49-F238E27FC236}">
                <a16:creationId xmlns:a16="http://schemas.microsoft.com/office/drawing/2014/main" id="{6492445B-1FA3-43F0-AF0B-109CBFBE58F5}"/>
              </a:ext>
            </a:extLst>
          </p:cNvPr>
          <p:cNvSpPr txBox="1"/>
          <p:nvPr/>
        </p:nvSpPr>
        <p:spPr>
          <a:xfrm>
            <a:off x="5508069" y="5337150"/>
            <a:ext cx="28397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-285750" defTabSz="914309">
              <a:spcBef>
                <a:spcPct val="0"/>
              </a:spcBef>
              <a:buClr>
                <a:srgbClr val="25A5E8"/>
              </a:buClr>
              <a:defRPr sz="1200" i="1" u="sng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altLang="es-AR" dirty="0">
                <a:sym typeface="Wingdings" panose="05000000000000000000" pitchFamily="2" charset="2"/>
              </a:rPr>
              <a:t>Customer </a:t>
            </a:r>
            <a:r>
              <a:rPr lang="es-ES" altLang="es-AR" dirty="0" err="1">
                <a:sym typeface="Wingdings" panose="05000000000000000000" pitchFamily="2" charset="2"/>
              </a:rPr>
              <a:t>Experience</a:t>
            </a:r>
            <a:endParaRPr lang="es-ES" altLang="es-AR" dirty="0">
              <a:sym typeface="Wingdings" panose="05000000000000000000" pitchFamily="2" charset="2"/>
            </a:endParaRPr>
          </a:p>
        </p:txBody>
      </p:sp>
      <p:sp>
        <p:nvSpPr>
          <p:cNvPr id="152" name="Rectángulo 151">
            <a:extLst>
              <a:ext uri="{FF2B5EF4-FFF2-40B4-BE49-F238E27FC236}">
                <a16:creationId xmlns:a16="http://schemas.microsoft.com/office/drawing/2014/main" id="{B19298EE-9971-4EDD-829E-B7883C47D455}"/>
              </a:ext>
            </a:extLst>
          </p:cNvPr>
          <p:cNvSpPr/>
          <p:nvPr/>
        </p:nvSpPr>
        <p:spPr>
          <a:xfrm>
            <a:off x="8381145" y="2564875"/>
            <a:ext cx="1358721" cy="356265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3" name="Rectángulo 152">
            <a:extLst>
              <a:ext uri="{FF2B5EF4-FFF2-40B4-BE49-F238E27FC236}">
                <a16:creationId xmlns:a16="http://schemas.microsoft.com/office/drawing/2014/main" id="{87FF7A36-3BF7-4A0D-AF00-30DFE4323022}"/>
              </a:ext>
            </a:extLst>
          </p:cNvPr>
          <p:cNvSpPr/>
          <p:nvPr/>
        </p:nvSpPr>
        <p:spPr>
          <a:xfrm>
            <a:off x="8374378" y="2519799"/>
            <a:ext cx="1373041" cy="132830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/>
          </a:p>
        </p:txBody>
      </p:sp>
      <p:sp>
        <p:nvSpPr>
          <p:cNvPr id="154" name="CuadroTexto 153">
            <a:extLst>
              <a:ext uri="{FF2B5EF4-FFF2-40B4-BE49-F238E27FC236}">
                <a16:creationId xmlns:a16="http://schemas.microsoft.com/office/drawing/2014/main" id="{9B6700D1-8519-46F7-8A12-F67F38E8E4B4}"/>
              </a:ext>
            </a:extLst>
          </p:cNvPr>
          <p:cNvSpPr txBox="1"/>
          <p:nvPr/>
        </p:nvSpPr>
        <p:spPr>
          <a:xfrm>
            <a:off x="8397055" y="3843640"/>
            <a:ext cx="13567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  <a:buFontTx/>
              <a:buChar char="-"/>
            </a:pPr>
            <a:r>
              <a:rPr lang="es-ES" sz="1200" dirty="0"/>
              <a:t>Coordinación con logística despacho de materiales</a:t>
            </a:r>
            <a:br>
              <a:rPr lang="es-ES" sz="1200" dirty="0"/>
            </a:br>
            <a:r>
              <a:rPr lang="es-ES" sz="1200" dirty="0"/>
              <a:t>- Coordinación con </a:t>
            </a:r>
            <a:r>
              <a:rPr lang="es-ES" sz="1200" dirty="0" err="1"/>
              <a:t>Planning</a:t>
            </a:r>
            <a:r>
              <a:rPr lang="es-ES" sz="1200" dirty="0"/>
              <a:t> sobre el ingreso de los SKU</a:t>
            </a:r>
          </a:p>
          <a:p>
            <a:pPr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200" i="1" dirty="0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es-ES" altLang="es-AR" sz="1200" dirty="0" err="1">
                <a:cs typeface="Arial" panose="020B0604020202020204" pitchFamily="34" charset="0"/>
                <a:sym typeface="Wingdings" panose="05000000000000000000" pitchFamily="2" charset="2"/>
              </a:rPr>
              <a:t>BackUp</a:t>
            </a:r>
            <a:r>
              <a:rPr lang="es-ES" altLang="es-AR" sz="1200" dirty="0">
                <a:cs typeface="Arial" panose="020B0604020202020204" pitchFamily="34" charset="0"/>
                <a:sym typeface="Wingdings" panose="05000000000000000000" pitchFamily="2" charset="2"/>
              </a:rPr>
              <a:t> para la carga de NPV de </a:t>
            </a:r>
            <a:r>
              <a:rPr lang="es-ES" altLang="es-AR" sz="1200" dirty="0" err="1">
                <a:cs typeface="Arial" panose="020B0604020202020204" pitchFamily="34" charset="0"/>
                <a:sym typeface="Wingdings" panose="05000000000000000000" pitchFamily="2" charset="2"/>
              </a:rPr>
              <a:t>Phytobac</a:t>
            </a:r>
            <a:r>
              <a:rPr lang="es-ES" altLang="es-AR" sz="1200" dirty="0"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155" name="Rectángulo 154">
            <a:extLst>
              <a:ext uri="{FF2B5EF4-FFF2-40B4-BE49-F238E27FC236}">
                <a16:creationId xmlns:a16="http://schemas.microsoft.com/office/drawing/2014/main" id="{5247B4A4-4603-46DB-9802-CD02984AB551}"/>
              </a:ext>
            </a:extLst>
          </p:cNvPr>
          <p:cNvSpPr/>
          <p:nvPr/>
        </p:nvSpPr>
        <p:spPr>
          <a:xfrm>
            <a:off x="8376581" y="2514600"/>
            <a:ext cx="296214" cy="273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>
                <a:solidFill>
                  <a:schemeClr val="tx1"/>
                </a:solidFill>
              </a:rPr>
              <a:t>3.</a:t>
            </a: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26" name="Gráfico 25" descr="Diagrama de Gantt contorno">
            <a:extLst>
              <a:ext uri="{FF2B5EF4-FFF2-40B4-BE49-F238E27FC236}">
                <a16:creationId xmlns:a16="http://schemas.microsoft.com/office/drawing/2014/main" id="{ECACF0A3-5D6A-4807-A410-E73B39ABCBC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602921" y="2677510"/>
            <a:ext cx="914400" cy="914400"/>
          </a:xfrm>
          <a:prstGeom prst="rect">
            <a:avLst/>
          </a:prstGeom>
        </p:spPr>
      </p:pic>
      <p:sp>
        <p:nvSpPr>
          <p:cNvPr id="68" name="CuadroTexto 67">
            <a:extLst>
              <a:ext uri="{FF2B5EF4-FFF2-40B4-BE49-F238E27FC236}">
                <a16:creationId xmlns:a16="http://schemas.microsoft.com/office/drawing/2014/main" id="{D63BF2FE-A19D-4392-A29E-61FDB8F4DF17}"/>
              </a:ext>
            </a:extLst>
          </p:cNvPr>
          <p:cNvSpPr txBox="1"/>
          <p:nvPr/>
        </p:nvSpPr>
        <p:spPr>
          <a:xfrm>
            <a:off x="6994793" y="5676059"/>
            <a:ext cx="1547805" cy="276999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200" i="1" dirty="0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clamos</a:t>
            </a:r>
          </a:p>
        </p:txBody>
      </p:sp>
      <p:sp>
        <p:nvSpPr>
          <p:cNvPr id="69" name="Rectángulo 68">
            <a:extLst>
              <a:ext uri="{FF2B5EF4-FFF2-40B4-BE49-F238E27FC236}">
                <a16:creationId xmlns:a16="http://schemas.microsoft.com/office/drawing/2014/main" id="{60360ED5-BF03-4FF1-90A6-DD16CFED8BD1}"/>
              </a:ext>
            </a:extLst>
          </p:cNvPr>
          <p:cNvSpPr/>
          <p:nvPr/>
        </p:nvSpPr>
        <p:spPr>
          <a:xfrm>
            <a:off x="5472993" y="5103284"/>
            <a:ext cx="296214" cy="273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>
                <a:solidFill>
                  <a:schemeClr val="tx1"/>
                </a:solidFill>
              </a:rPr>
              <a:t>2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70" name="Rectángulo 69">
            <a:extLst>
              <a:ext uri="{FF2B5EF4-FFF2-40B4-BE49-F238E27FC236}">
                <a16:creationId xmlns:a16="http://schemas.microsoft.com/office/drawing/2014/main" id="{08150CE4-E502-4531-BF5E-831DB2CB194A}"/>
              </a:ext>
            </a:extLst>
          </p:cNvPr>
          <p:cNvSpPr/>
          <p:nvPr/>
        </p:nvSpPr>
        <p:spPr>
          <a:xfrm>
            <a:off x="1589380" y="56720"/>
            <a:ext cx="10508567" cy="928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AR" sz="3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Cómo venimos trabajando?  | Principales Tareas</a:t>
            </a:r>
          </a:p>
        </p:txBody>
      </p:sp>
    </p:spTree>
    <p:extLst>
      <p:ext uri="{BB962C8B-B14F-4D97-AF65-F5344CB8AC3E}">
        <p14:creationId xmlns:p14="http://schemas.microsoft.com/office/powerpoint/2010/main" val="25450867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ApWGU5TwW8HqyKpwVp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jXHRHwRRWtMbSuEVdV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5_LEADING MASTER_Integration planning project_templat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72000" tIns="0" rIns="72000" bIns="0" rtlCol="0">
        <a:noAutofit/>
      </a:bodyPr>
      <a:lstStyle>
        <a:defPPr marL="0">
          <a:buClr>
            <a:srgbClr val="005598"/>
          </a:buClr>
          <a:buSzPct val="85000"/>
          <a:defRPr dirty="0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2017-12-18_Integration_Planning_Project_template.potx [Schreibgeschützt]" id="{3E2D5099-0782-456F-AA94-00B38824774B}" vid="{7B8DC738-7F0B-4FBC-B286-BFBF82630C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>
      <Value>1</Value>
    </TaxCatchAll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90622268A43A94BBEE269217982B273" ma:contentTypeVersion="20" ma:contentTypeDescription="Crear nuevo documento." ma:contentTypeScope="" ma:versionID="0c6c1a6d35f30f3814bc8c22045ca817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12eef998-d83e-40bf-951b-fd2a94c9027c" targetNamespace="http://schemas.microsoft.com/office/2006/metadata/properties" ma:root="true" ma:fieldsID="d2841242f98d64e9ed0f461af7599aa4" ns1:_="" ns2:_="" ns3:_="">
    <xsd:import namespace="http://schemas.microsoft.com/sharepoint/v3"/>
    <xsd:import namespace="1a4d292e-883c-434b-96e3-060cfff16c86"/>
    <xsd:import namespace="12eef998-d83e-40bf-951b-fd2a94c9027c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cluir de la directiva" ma:hidden="true" ma:internalName="_dlc_Exempt" ma:readOnly="false">
      <xsd:simpleType>
        <xsd:restriction base="dms:Unknown"/>
      </xsd:simpleType>
    </xsd:element>
    <xsd:element name="_dlc_ExpireDateSaved" ma:index="11" nillable="true" ma:displayName="Fecha de expiración original" ma:hidden="true" ma:internalName="_dlc_ExpireDateSaved" ma:readOnly="false">
      <xsd:simpleType>
        <xsd:restriction base="dms:DateTime"/>
      </xsd:simpleType>
    </xsd:element>
    <xsd:element name="_dlc_ExpireDate" ma:index="12" nillable="true" ma:displayName="Fecha de expiración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a6feeebe-7044-4124-913e-1838d601290f}" ma:internalName="TaxCatchAll" ma:showField="CatchAllData" ma:web="1b1f854e-6812-452b-a4e2-55be3fdc00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a6feeebe-7044-4124-913e-1838d601290f}" ma:internalName="TaxCatchAllLabel" ma:readOnly="true" ma:showField="CatchAllDataLabel" ma:web="1b1f854e-6812-452b-a4e2-55be3fdc00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eef998-d83e-40bf-951b-fd2a94c902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7bc43322-b630-4bac-8b27-31def233d1d0" ContentTypeId="0x0101" PreviousValue="false"/>
</file>

<file path=customXml/itemProps1.xml><?xml version="1.0" encoding="utf-8"?>
<ds:datastoreItem xmlns:ds="http://schemas.openxmlformats.org/officeDocument/2006/customXml" ds:itemID="{12C9E891-44EE-4C44-81EB-2F5FD8A94A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77F69-5467-4028-B6EB-50722007EDF0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elements/1.1/"/>
    <ds:schemaRef ds:uri="http://purl.org/dc/terms/"/>
    <ds:schemaRef ds:uri="c4aff849-5bd7-40a2-8536-bdf1b1279a08"/>
    <ds:schemaRef ds:uri="http://schemas.microsoft.com/office/infopath/2007/PartnerControls"/>
    <ds:schemaRef ds:uri="http://schemas.openxmlformats.org/package/2006/metadata/core-properties"/>
    <ds:schemaRef ds:uri="076307b4-3f49-4d0a-82f3-07c2cb1c99e9"/>
    <ds:schemaRef ds:uri="http://schemas.microsoft.com/office/2006/metadata/properties"/>
    <ds:schemaRef ds:uri="1a4d292e-883c-434b-96e3-060cfff16c86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DA15EBCF-12F7-4079-8676-8BABFD677C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12eef998-d83e-40bf-951b-fd2a94c902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E605418-65EB-408B-B9B0-958F5259D0EC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20</Words>
  <Application>Microsoft Office PowerPoint</Application>
  <PresentationFormat>Panorámica</PresentationFormat>
  <Paragraphs>79</Paragraphs>
  <Slides>4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Century Gothic</vt:lpstr>
      <vt:lpstr>Comic Sans MS</vt:lpstr>
      <vt:lpstr>35_LEADING MASTER_Integration planning project_template</vt:lpstr>
      <vt:lpstr>Office Theme</vt:lpstr>
      <vt:lpstr>think-cell Slide</vt:lpstr>
      <vt:lpstr>Presentación de PowerPoint</vt:lpstr>
      <vt:lpstr>Presentación de PowerPoint</vt:lpstr>
      <vt:lpstr>Propuesta 2023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yer Phytobac</dc:title>
  <dc:creator>Pablo Diego Garcia</dc:creator>
  <cp:lastModifiedBy>Bayer Monsanto</cp:lastModifiedBy>
  <cp:revision>35</cp:revision>
  <cp:lastPrinted>2021-02-18T16:05:13Z</cp:lastPrinted>
  <dcterms:created xsi:type="dcterms:W3CDTF">2020-07-18T22:25:43Z</dcterms:created>
  <dcterms:modified xsi:type="dcterms:W3CDTF">2023-04-17T21:3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0622268A43A94BBEE269217982B273</vt:lpwstr>
  </property>
  <property fmtid="{D5CDD505-2E9C-101B-9397-08002B2CF9AE}" pid="3" name="c2b5fb8256bd435bb7806ac3891e195b">
    <vt:lpwstr>Short-Term|6d967203-8346-4b9c-90f8-b3828a3fa508</vt:lpwstr>
  </property>
  <property fmtid="{D5CDD505-2E9C-101B-9397-08002B2CF9AE}" pid="4" name="MSIP_Label_2c76c141-ac86-40e5-abf2-c6f60e474cee_Enabled">
    <vt:lpwstr>true</vt:lpwstr>
  </property>
  <property fmtid="{D5CDD505-2E9C-101B-9397-08002B2CF9AE}" pid="5" name="MSIP_Label_2c76c141-ac86-40e5-abf2-c6f60e474cee_SetDate">
    <vt:lpwstr>2023-02-17T13:13:47Z</vt:lpwstr>
  </property>
  <property fmtid="{D5CDD505-2E9C-101B-9397-08002B2CF9AE}" pid="6" name="MSIP_Label_2c76c141-ac86-40e5-abf2-c6f60e474cee_Method">
    <vt:lpwstr>Privileged</vt:lpwstr>
  </property>
  <property fmtid="{D5CDD505-2E9C-101B-9397-08002B2CF9AE}" pid="7" name="MSIP_Label_2c76c141-ac86-40e5-abf2-c6f60e474cee_Name">
    <vt:lpwstr>2c76c141-ac86-40e5-abf2-c6f60e474cee</vt:lpwstr>
  </property>
  <property fmtid="{D5CDD505-2E9C-101B-9397-08002B2CF9AE}" pid="8" name="MSIP_Label_2c76c141-ac86-40e5-abf2-c6f60e474cee_SiteId">
    <vt:lpwstr>fcb2b37b-5da0-466b-9b83-0014b67a7c78</vt:lpwstr>
  </property>
  <property fmtid="{D5CDD505-2E9C-101B-9397-08002B2CF9AE}" pid="9" name="MSIP_Label_2c76c141-ac86-40e5-abf2-c6f60e474cee_ActionId">
    <vt:lpwstr>045b6567-fb50-43b0-8cd2-253245e8abba</vt:lpwstr>
  </property>
  <property fmtid="{D5CDD505-2E9C-101B-9397-08002B2CF9AE}" pid="10" name="MSIP_Label_2c76c141-ac86-40e5-abf2-c6f60e474cee_ContentBits">
    <vt:lpwstr>2</vt:lpwstr>
  </property>
</Properties>
</file>